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</p:sldMasterIdLst>
  <p:notesMasterIdLst>
    <p:notesMasterId r:id="rId39"/>
  </p:notesMasterIdLst>
  <p:handoutMasterIdLst>
    <p:handoutMasterId r:id="rId40"/>
  </p:handoutMasterIdLst>
  <p:sldIdLst>
    <p:sldId id="1687" r:id="rId10"/>
    <p:sldId id="1688" r:id="rId11"/>
    <p:sldId id="1689" r:id="rId12"/>
    <p:sldId id="1690" r:id="rId13"/>
    <p:sldId id="1692" r:id="rId14"/>
    <p:sldId id="1685" r:id="rId15"/>
    <p:sldId id="1657" r:id="rId16"/>
    <p:sldId id="1658" r:id="rId17"/>
    <p:sldId id="1659" r:id="rId18"/>
    <p:sldId id="1660" r:id="rId19"/>
    <p:sldId id="1667" r:id="rId20"/>
    <p:sldId id="1670" r:id="rId21"/>
    <p:sldId id="1671" r:id="rId22"/>
    <p:sldId id="1673" r:id="rId23"/>
    <p:sldId id="1674" r:id="rId24"/>
    <p:sldId id="1672" r:id="rId25"/>
    <p:sldId id="1675" r:id="rId26"/>
    <p:sldId id="1662" r:id="rId27"/>
    <p:sldId id="1663" r:id="rId28"/>
    <p:sldId id="1666" r:id="rId29"/>
    <p:sldId id="1664" r:id="rId30"/>
    <p:sldId id="1665" r:id="rId31"/>
    <p:sldId id="1676" r:id="rId32"/>
    <p:sldId id="1677" r:id="rId33"/>
    <p:sldId id="1678" r:id="rId34"/>
    <p:sldId id="1686" r:id="rId35"/>
    <p:sldId id="1681" r:id="rId36"/>
    <p:sldId id="1684" r:id="rId37"/>
    <p:sldId id="300" r:id="rId38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2E2"/>
    <a:srgbClr val="00BCF2"/>
    <a:srgbClr val="FF9900"/>
    <a:srgbClr val="FFCC00"/>
    <a:srgbClr val="3558C9"/>
    <a:srgbClr val="005AA1"/>
    <a:srgbClr val="FCB713"/>
    <a:srgbClr val="002864"/>
    <a:srgbClr val="002050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1" autoAdjust="0"/>
    <p:restoredTop sz="86259" autoAdjust="0"/>
  </p:normalViewPr>
  <p:slideViewPr>
    <p:cSldViewPr snapToGrid="0">
      <p:cViewPr varScale="1">
        <p:scale>
          <a:sx n="107" d="100"/>
          <a:sy n="107" d="100"/>
        </p:scale>
        <p:origin x="1112" y="184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0" Type="http://schemas.openxmlformats.org/officeDocument/2006/relationships/slide" Target="slides/slide11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15/19 4:59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g239a7cffd6_4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7" name="Google Shape;577;g239a7cffd6_4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B=</a:t>
            </a:r>
            <a:r>
              <a:rPr lang="en-US" dirty="0" err="1"/>
              <a:t>AtA</a:t>
            </a:r>
            <a:r>
              <a:rPr lang="en-US" dirty="0"/>
              <a:t> (document-document matrix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=</a:t>
            </a:r>
            <a:r>
              <a:rPr lang="en-US" dirty="0" err="1"/>
              <a:t>Aat</a:t>
            </a:r>
            <a:r>
              <a:rPr lang="en-US" dirty="0"/>
              <a:t> (term-term matrix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=</a:t>
            </a:r>
            <a:r>
              <a:rPr lang="en-US" dirty="0" err="1"/>
              <a:t>SsigmaUt</a:t>
            </a:r>
            <a:r>
              <a:rPr lang="en-US" dirty="0"/>
              <a:t> where S is the matrix of eigenvectors of B, U of C and sigma is a diagonal matrix of singular values aka square roots of eigenvalues of B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4889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5/19 4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23934" y="605179"/>
            <a:ext cx="11588608" cy="77880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23934" y="1567224"/>
            <a:ext cx="11588608" cy="464588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21746" lvl="0" indent="-46631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43493" lvl="1" indent="-431768">
              <a:spcBef>
                <a:spcPts val="2176"/>
              </a:spcBef>
              <a:spcAft>
                <a:spcPts val="0"/>
              </a:spcAft>
              <a:buSzPts val="1400"/>
              <a:buChar char="○"/>
              <a:defRPr/>
            </a:lvl2pPr>
            <a:lvl3pPr marL="1865239" lvl="2" indent="-431768">
              <a:spcBef>
                <a:spcPts val="2176"/>
              </a:spcBef>
              <a:spcAft>
                <a:spcPts val="0"/>
              </a:spcAft>
              <a:buSzPts val="1400"/>
              <a:buChar char="■"/>
              <a:defRPr/>
            </a:lvl3pPr>
            <a:lvl4pPr marL="2486985" lvl="3" indent="-431768">
              <a:spcBef>
                <a:spcPts val="2176"/>
              </a:spcBef>
              <a:spcAft>
                <a:spcPts val="0"/>
              </a:spcAft>
              <a:buSzPts val="1400"/>
              <a:buChar char="●"/>
              <a:defRPr/>
            </a:lvl4pPr>
            <a:lvl5pPr marL="3108731" lvl="4" indent="-431768">
              <a:spcBef>
                <a:spcPts val="2176"/>
              </a:spcBef>
              <a:spcAft>
                <a:spcPts val="0"/>
              </a:spcAft>
              <a:buSzPts val="1400"/>
              <a:buChar char="○"/>
              <a:defRPr/>
            </a:lvl5pPr>
            <a:lvl6pPr marL="3730478" lvl="5" indent="-431768">
              <a:spcBef>
                <a:spcPts val="2176"/>
              </a:spcBef>
              <a:spcAft>
                <a:spcPts val="0"/>
              </a:spcAft>
              <a:buSzPts val="1400"/>
              <a:buChar char="■"/>
              <a:defRPr/>
            </a:lvl6pPr>
            <a:lvl7pPr marL="4352224" lvl="6" indent="-431768">
              <a:spcBef>
                <a:spcPts val="2176"/>
              </a:spcBef>
              <a:spcAft>
                <a:spcPts val="0"/>
              </a:spcAft>
              <a:buSzPts val="1400"/>
              <a:buChar char="●"/>
              <a:defRPr/>
            </a:lvl7pPr>
            <a:lvl8pPr marL="4973970" lvl="7" indent="-431768">
              <a:spcBef>
                <a:spcPts val="2176"/>
              </a:spcBef>
              <a:spcAft>
                <a:spcPts val="0"/>
              </a:spcAft>
              <a:buSzPts val="1400"/>
              <a:buChar char="○"/>
              <a:defRPr/>
            </a:lvl8pPr>
            <a:lvl9pPr marL="5595717" lvl="8" indent="-431768">
              <a:spcBef>
                <a:spcPts val="2176"/>
              </a:spcBef>
              <a:spcAft>
                <a:spcPts val="2176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523131" y="6341400"/>
            <a:ext cx="746270" cy="53524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59572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11/15/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4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558" r:id="rId5"/>
    <p:sldLayoutId id="2147484561" r:id="rId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3" name="think-cell Slide" r:id="rId19" imgW="383" imgH="384" progId="TCLayout.ActiveDocument.1">
                  <p:embed/>
                </p:oleObj>
              </mc:Choice>
              <mc:Fallback>
                <p:oleObj name="think-cell Slide" r:id="rId19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559" r:id="rId14"/>
    <p:sldLayoutId id="2147484560" r:id="rId15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bionlp-www.utu.fi/wv_demo/" TargetMode="External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tiff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A6D60EF-B5C4-DE44-B215-E9846EBC5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oding &amp; Embedd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B036F6-BB47-5144-BFFC-70BA2F78B8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26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character trigrams in the wor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309" y="2575506"/>
            <a:ext cx="8545882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83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21826" y="1388514"/>
            <a:ext cx="472757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&lt;- Word vectors projected by principal components in 2D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Similarity of words implies proximity in vector space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Proximity will depend on representation and distance measure (Euclidean, cosine, Hamming…)</a:t>
            </a:r>
          </a:p>
        </p:txBody>
      </p:sp>
      <p:pic>
        <p:nvPicPr>
          <p:cNvPr id="1639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75" y="1388514"/>
            <a:ext cx="6843717" cy="4008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60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87906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276220"/>
            <a:ext cx="565495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Syn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having the same or nearly the same meaning as another word in certain context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Beautiful: Attractive, Pretty, Lovely, Stunning</a:t>
            </a:r>
          </a:p>
          <a:p>
            <a:endParaRPr lang="en-US" sz="2800" dirty="0">
              <a:latin typeface="+mj-lt"/>
            </a:endParaRP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" b="2161"/>
          <a:stretch/>
        </p:blipFill>
        <p:spPr bwMode="auto">
          <a:xfrm>
            <a:off x="6175717" y="1613846"/>
            <a:ext cx="6065519" cy="4387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3"/>
          <a:stretch/>
        </p:blipFill>
        <p:spPr bwMode="auto">
          <a:xfrm>
            <a:off x="6091302" y="1276219"/>
            <a:ext cx="6345173" cy="4387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20759" y="1276220"/>
            <a:ext cx="565495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Antonym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that is  opposite in context of another word although similar in other respect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fraid – Confident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225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2179" b="2383"/>
          <a:stretch/>
        </p:blipFill>
        <p:spPr bwMode="auto">
          <a:xfrm>
            <a:off x="6274191" y="1193314"/>
            <a:ext cx="5967046" cy="4306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20759" y="1276220"/>
            <a:ext cx="565495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ernym</a:t>
            </a:r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whose meaning includes the meanings of other word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Flower is a hypernym of daisy and rose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Truck is a type of car. 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99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b="2642"/>
          <a:stretch/>
        </p:blipFill>
        <p:spPr bwMode="auto">
          <a:xfrm>
            <a:off x="6529754" y="1165866"/>
            <a:ext cx="5864527" cy="422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20759" y="1276220"/>
            <a:ext cx="56549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term used to designate a particular member of a broader clas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Cat and rabbit are co-hyponyms of the hypernym animal.</a:t>
            </a: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329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re values on a scale: hot, warm, cold.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7"/>
          <a:stretch/>
        </p:blipFill>
        <p:spPr bwMode="auto">
          <a:xfrm>
            <a:off x="2768234" y="1276221"/>
            <a:ext cx="7394614" cy="4491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89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ppear in similar contexts.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1" r="1145"/>
          <a:stretch/>
        </p:blipFill>
        <p:spPr bwMode="auto">
          <a:xfrm>
            <a:off x="2442433" y="1428006"/>
            <a:ext cx="7461222" cy="420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75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t's Consider The Following Example…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We have four (tiny) documents,</a:t>
            </a:r>
          </a:p>
          <a:p>
            <a:endParaRPr lang="en-US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1 : “seattle seahawks jerseys”</a:t>
            </a:r>
          </a:p>
          <a:p>
            <a:pPr lvl="2"/>
            <a:r>
              <a:rPr lang="en-US" sz="2400" dirty="0">
                <a:latin typeface="+mj-lt"/>
              </a:rPr>
              <a:t>Document 2 : “seattle seahawks highlights”</a:t>
            </a:r>
          </a:p>
          <a:p>
            <a:pPr lvl="2"/>
            <a:r>
              <a:rPr lang="en-US" sz="2400" dirty="0">
                <a:latin typeface="+mj-lt"/>
              </a:rPr>
              <a:t>Document 3 : “denver broncos jerseys”</a:t>
            </a:r>
          </a:p>
          <a:p>
            <a:pPr lvl="2"/>
            <a:r>
              <a:rPr lang="en-US" sz="2400" dirty="0">
                <a:latin typeface="+mj-lt"/>
              </a:rPr>
              <a:t>Document 4 : “denver broncos highlights”</a:t>
            </a:r>
          </a:p>
          <a:p>
            <a:pPr lvl="2"/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20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Document Occurrence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5" y="1205882"/>
            <a:ext cx="111288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318" y="1288102"/>
            <a:ext cx="6594427" cy="388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5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1F9B3-001E-2B4E-AEE7-3AFD0782A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o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6A5B7-38F6-1347-8B5B-99D5CD7FDA1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2548390"/>
          </a:xfrm>
        </p:spPr>
        <p:txBody>
          <a:bodyPr/>
          <a:lstStyle/>
          <a:p>
            <a:r>
              <a:rPr lang="en-US" dirty="0"/>
              <a:t>Assigning numerical values to non-numerical inputs:</a:t>
            </a:r>
          </a:p>
          <a:p>
            <a:pPr marL="342900" indent="-342900">
              <a:buFontTx/>
              <a:buChar char="-"/>
            </a:pPr>
            <a:r>
              <a:rPr lang="en-US" dirty="0"/>
              <a:t>One-hot encoding</a:t>
            </a:r>
          </a:p>
          <a:p>
            <a:pPr marL="342900" indent="-342900">
              <a:buFontTx/>
              <a:buChar char="-"/>
            </a:pPr>
            <a:r>
              <a:rPr lang="en-US" dirty="0"/>
              <a:t>Term frequency</a:t>
            </a:r>
          </a:p>
          <a:p>
            <a:pPr marL="342900" indent="-342900">
              <a:buFontTx/>
              <a:buChar char="-"/>
            </a:pPr>
            <a:r>
              <a:rPr lang="en-US" dirty="0"/>
              <a:t>Term frequency, inverse document frequency</a:t>
            </a:r>
          </a:p>
          <a:p>
            <a:pPr marL="342900" indent="-342900">
              <a:buFontTx/>
              <a:buChar char="-"/>
            </a:pPr>
            <a:r>
              <a:rPr lang="en-US" dirty="0"/>
              <a:t>… and more (e.g. SVD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31567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Word Context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4" y="1205882"/>
            <a:ext cx="1159312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146" y="1144249"/>
            <a:ext cx="8683406" cy="4181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043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Character Trigrams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187875"/>
            <a:ext cx="111288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pPr lvl="3"/>
            <a:r>
              <a:rPr lang="en-US" sz="2400" dirty="0">
                <a:latin typeface="+mj-lt"/>
              </a:rPr>
              <a:t> This notion of relatedness is similar to string-edit distance.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9" y="1393522"/>
            <a:ext cx="10440767" cy="3333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459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/>
              <a:t>DIY: Learning Word Typ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+mj-lt"/>
                  </a:rPr>
                  <a:t>Demo at </a:t>
                </a:r>
                <a:r>
                  <a:rPr lang="en-US" sz="2000" dirty="0">
                    <a:hlinkClick r:id="rId3"/>
                  </a:rPr>
                  <a:t>http://bionlp-www.utu.fi/wv_demo/</a:t>
                </a:r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(Positive) Pointwise Mutual Information for every Word-Context pair.</a:t>
                </a:r>
              </a:p>
              <a:p>
                <a:endParaRPr lang="en-US" sz="2000" dirty="0"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latin typeface="Cambria Math"/>
                        </a:rPr>
                        <m:t>𝑝𝑚𝑖</m:t>
                      </m:r>
                      <m:r>
                        <a:rPr lang="en-US" sz="2000" b="0" i="1" dirty="0" smtClean="0">
                          <a:latin typeface="Cambria Math"/>
                        </a:rPr>
                        <m:t>(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𝑥</m:t>
                      </m:r>
                      <m:r>
                        <a:rPr lang="en-US" sz="2000" b="0" i="1" dirty="0" smtClean="0">
                          <a:latin typeface="Cambria Math"/>
                        </a:rPr>
                        <m:t>,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𝑦</m:t>
                      </m:r>
                      <m:r>
                        <a:rPr lang="en-US" sz="2000" b="0" i="1" dirty="0" smtClean="0">
                          <a:latin typeface="Cambria Math"/>
                        </a:rPr>
                        <m:t>)≡</m:t>
                      </m:r>
                      <m:func>
                        <m:funcPr>
                          <m:ctrlPr>
                            <a:rPr lang="en-US" sz="2000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dirty="0" smtClean="0">
                              <a:latin typeface="Cambria Math"/>
                              <a:ea typeface="Cambria Math"/>
                            </a:rPr>
                            <m:t>log</m:t>
                          </m:r>
                        </m:fName>
                        <m:e>
                          <m:f>
                            <m:fPr>
                              <m:ctrlPr>
                                <a:rPr lang="en-US" sz="2000" b="0" i="1" dirty="0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sz="20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US" sz="2000" b="0" i="1" dirty="0" smtClean="0">
                                      <a:latin typeface="Cambria Math"/>
                                      <a:ea typeface="Cambria Math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den>
                          </m:f>
                        </m:e>
                      </m:func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the cosine similarity between the context score vectors to estimate word similarity by type.</a:t>
                </a:r>
              </a:p>
              <a:p>
                <a:r>
                  <a:rPr lang="en-US" sz="2000" dirty="0">
                    <a:latin typeface="+mj-lt"/>
                  </a:rPr>
                  <a:t> </a:t>
                </a:r>
              </a:p>
              <a:p>
                <a:endParaRPr 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blipFill rotWithShape="1">
                <a:blip r:embed="rId5"/>
                <a:stretch>
                  <a:fillRect l="-1111" t="-5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"/>
          <a:stretch/>
        </p:blipFill>
        <p:spPr bwMode="auto">
          <a:xfrm>
            <a:off x="6119446" y="1187875"/>
            <a:ext cx="6290876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9"/>
          <a:stretch/>
        </p:blipFill>
        <p:spPr bwMode="auto">
          <a:xfrm>
            <a:off x="6119445" y="3907787"/>
            <a:ext cx="6274835" cy="227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65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Analogy Ta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3"/>
                <a:r>
                  <a:rPr lang="en-US" sz="2800" dirty="0">
                    <a:latin typeface="+mj-lt"/>
                  </a:rPr>
                  <a:t>man is to woman as king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good is to best as smart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china is to beijing as russia is to _?</a:t>
                </a:r>
              </a:p>
              <a:p>
                <a:pPr lvl="3"/>
                <a:endParaRPr lang="en-US" sz="2800" dirty="0">
                  <a:latin typeface="+mj-lt"/>
                </a:endParaRPr>
              </a:p>
              <a:p>
                <a:r>
                  <a:rPr lang="en-US" sz="2800" dirty="0">
                    <a:latin typeface="+mj-lt"/>
                  </a:rPr>
                  <a:t>Turns out the word-context based vector model we just learnt is good for such analogy tasks,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𝑘𝑖𝑛𝑔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−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𝑚𝑎𝑛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+</m:t>
                      </m:r>
                      <m:r>
                        <a:rPr lang="en-US" sz="2800" i="1" dirty="0" smtClean="0">
                          <a:latin typeface="Cambria Math"/>
                        </a:rPr>
                        <m:t>[</m:t>
                      </m:r>
                      <m:r>
                        <a:rPr lang="en-US" sz="2800" i="1" dirty="0" smtClean="0">
                          <a:latin typeface="Cambria Math"/>
                        </a:rPr>
                        <m:t>𝑤𝑜𝑚𝑎𝑛</m:t>
                      </m:r>
                      <m:r>
                        <a:rPr lang="en-US" sz="2800" i="1" dirty="0" smtClean="0">
                          <a:latin typeface="Cambria Math"/>
                        </a:rPr>
                        <m:t>]≈[</m:t>
                      </m:r>
                      <m:r>
                        <a:rPr lang="en-US" sz="2800" i="1" dirty="0" smtClean="0">
                          <a:latin typeface="Cambria Math"/>
                        </a:rPr>
                        <m:t>𝑞𝑢𝑒𝑒𝑛</m:t>
                      </m:r>
                      <m:r>
                        <a:rPr lang="en-US" sz="2800" i="1" dirty="0" smtClean="0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Levy, Goldberg, and Israel, </a:t>
                </a:r>
                <a:r>
                  <a:rPr lang="en-US" sz="2000" u="sng" dirty="0">
                    <a:solidFill>
                      <a:srgbClr val="00B2E2"/>
                    </a:solidFill>
                    <a:latin typeface="+mj-lt"/>
                  </a:rPr>
                  <a:t>Linguistic Regularities in Sparse and Explicit Word Representations</a:t>
                </a:r>
                <a:r>
                  <a:rPr lang="en-US" sz="2000" dirty="0">
                    <a:latin typeface="+mj-lt"/>
                  </a:rPr>
                  <a:t>, CoNLL.2014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blipFill rotWithShape="1">
                <a:blip r:embed="rId3"/>
                <a:stretch>
                  <a:fillRect l="-1028" t="-1425" r="-1336" b="-17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27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64005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The vectors we have been discussing so far are very high-dimensional (thousands, or even millions) and sparse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ut there are techniques to learn lower-dimensional dense vectors for words using the same intuition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se dense vectors are called embeddings.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81" y="1301990"/>
            <a:ext cx="5175216" cy="417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76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arning Dense 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54158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Matrix Factorization</a:t>
            </a:r>
          </a:p>
          <a:p>
            <a:r>
              <a:rPr lang="en-US" sz="2200" dirty="0">
                <a:latin typeface="+mj-lt"/>
              </a:rPr>
              <a:t>Factorize word-context matrix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LDA (Word-Document),</a:t>
            </a:r>
          </a:p>
          <a:p>
            <a:pPr lvl="1"/>
            <a:r>
              <a:rPr lang="en-US" sz="2200" dirty="0">
                <a:latin typeface="+mj-lt"/>
              </a:rPr>
              <a:t>GloVe (Word-NeighboringWord)</a:t>
            </a:r>
          </a:p>
          <a:p>
            <a:endParaRPr lang="en-US" sz="2200" dirty="0">
              <a:latin typeface="+mj-lt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98" y="2063549"/>
            <a:ext cx="4290477" cy="171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37859" y="1187875"/>
            <a:ext cx="579861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Neural Networks</a:t>
            </a:r>
          </a:p>
          <a:p>
            <a:r>
              <a:rPr lang="en-US" sz="2200" dirty="0">
                <a:latin typeface="+mj-lt"/>
              </a:rPr>
              <a:t>A neural network with a bottleneck, word and context as input and output respectively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Word2vec (Word-Neighboringword)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832" y="2475914"/>
            <a:ext cx="3588578" cy="190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94608" y="5297265"/>
            <a:ext cx="12099673" cy="11618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erwester, Dumais, Landauer, Furnas, and Harshman, </a:t>
            </a:r>
            <a:r>
              <a:rPr lang="en-US" sz="1900" u="sng" dirty="0">
                <a:solidFill>
                  <a:srgbClr val="00B2E2"/>
                </a:solidFill>
                <a:latin typeface="+mj-lt"/>
              </a:rPr>
              <a:t>Indexing by latent semantic analysis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JASIS,1990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nington, Socher, and Manning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GloVe: Global Vectors for Word Representation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EMNLP, 2014. Mikolov, Sutskever, Chen, Corrado, and Dean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Distributed resentations of Words and phrases and their compositionality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NIPS, 2013.</a:t>
            </a:r>
          </a:p>
        </p:txBody>
      </p:sp>
    </p:spTree>
    <p:extLst>
      <p:ext uri="{BB962C8B-B14F-4D97-AF65-F5344CB8AC3E}">
        <p14:creationId xmlns:p14="http://schemas.microsoft.com/office/powerpoint/2010/main" val="308551580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13BCDC-AC29-B44C-B4AB-69AE80387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2Vec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4283EA-5AE8-4842-8A57-66C90A431B3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320" y="1655181"/>
            <a:ext cx="5443256" cy="4136517"/>
          </a:xfrm>
        </p:spPr>
        <p:txBody>
          <a:bodyPr>
            <a:normAutofit/>
          </a:bodyPr>
          <a:lstStyle/>
          <a:p>
            <a:r>
              <a:rPr lang="en-US" dirty="0"/>
              <a:t>A set of 2-layer networks that perform the mapping</a:t>
            </a:r>
          </a:p>
          <a:p>
            <a:pPr lvl="1"/>
            <a:r>
              <a:rPr lang="en-US" dirty="0"/>
              <a:t>Continuous Bag of Words (CBOW) networks predict current word from a context of 5 (default) surrounding words. </a:t>
            </a:r>
          </a:p>
          <a:p>
            <a:pPr lvl="2"/>
            <a:r>
              <a:rPr lang="en-US" dirty="0"/>
              <a:t>Order is not important</a:t>
            </a:r>
          </a:p>
          <a:p>
            <a:pPr lvl="1"/>
            <a:r>
              <a:rPr lang="en-US" dirty="0"/>
              <a:t>Continuous skip-gram uses the current word to predict the context (10 words by default). </a:t>
            </a:r>
          </a:p>
          <a:p>
            <a:pPr lvl="2"/>
            <a:r>
              <a:rPr lang="en-US" dirty="0"/>
              <a:t>Closer words weigh more heavily </a:t>
            </a:r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A21E075B-F79E-544A-B5CE-E6ECEDDEA0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8283" y="1655181"/>
            <a:ext cx="6808192" cy="39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8316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How Do Word Analogies Work?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/>
              <p:cNvSpPr txBox="1"/>
              <p:nvPr/>
            </p:nvSpPr>
            <p:spPr>
              <a:xfrm>
                <a:off x="540070" y="1192935"/>
                <a:ext cx="6324964" cy="39703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sually, the vector {chin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ijing} turns out to be almost parallel to the vector {russi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oscow}.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For a lot more information: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rora, et al. </a:t>
                </a:r>
                <a:r>
                  <a:rPr lang="en-US" sz="2800" u="sng" dirty="0">
                    <a:solidFill>
                      <a:srgbClr val="00BCF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RAND-WALK: A Latent variable Model approach Word Embeddings</a:t>
                </a:r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, 2015.</a:t>
                </a:r>
              </a:p>
            </p:txBody>
          </p:sp>
        </mc:Choice>
        <mc:Fallback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192935"/>
                <a:ext cx="6324964" cy="3970318"/>
              </a:xfrm>
              <a:prstGeom prst="rect">
                <a:avLst/>
              </a:prstGeom>
              <a:blipFill>
                <a:blip r:embed="rId2"/>
                <a:stretch>
                  <a:fillRect l="-2004" t="-1592" r="-1804" b="-28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77" r="2077" b="3481"/>
          <a:stretch/>
        </p:blipFill>
        <p:spPr bwMode="auto">
          <a:xfrm>
            <a:off x="7017824" y="1336431"/>
            <a:ext cx="5036451" cy="3629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7017823" y="5225024"/>
            <a:ext cx="5600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kolov, Sutskever, Chen, Corrado, and Dean, </a:t>
            </a:r>
            <a:r>
              <a:rPr lang="en-US" sz="1600" u="sng" dirty="0">
                <a:solidFill>
                  <a:srgbClr val="00BCF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stributed representations of words and phrasses and their compositionality</a:t>
            </a: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IPS, 2013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1553976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What’s Next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40069" y="1308294"/>
            <a:ext cx="927917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Train your own or use a pre-trained embedding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 trained on queries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GloVe</a:t>
            </a: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4505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9" name="Google Shape;579;p5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58244" y="105833"/>
            <a:ext cx="3212300" cy="2137216"/>
          </a:xfrm>
          <a:prstGeom prst="rect">
            <a:avLst/>
          </a:prstGeom>
          <a:noFill/>
          <a:ln>
            <a:noFill/>
          </a:ln>
        </p:spPr>
      </p:pic>
      <p:pic>
        <p:nvPicPr>
          <p:cNvPr id="580" name="Google Shape;580;p5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3403" y="105832"/>
            <a:ext cx="4779592" cy="1839301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p57"/>
          <p:cNvSpPr txBox="1"/>
          <p:nvPr/>
        </p:nvSpPr>
        <p:spPr>
          <a:xfrm>
            <a:off x="7003668" y="845503"/>
            <a:ext cx="4728699" cy="5515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t" anchorCtr="0">
            <a:noAutofit/>
          </a:bodyPr>
          <a:lstStyle/>
          <a:p>
            <a:r>
              <a:rPr lang="en" sz="2448" i="1">
                <a:latin typeface="Times"/>
                <a:ea typeface="Times"/>
                <a:cs typeface="Times"/>
                <a:sym typeface="Times"/>
              </a:rPr>
              <a:t>A = </a:t>
            </a:r>
            <a:endParaRPr sz="2448" i="1">
              <a:latin typeface="Times"/>
              <a:ea typeface="Times"/>
              <a:cs typeface="Times"/>
              <a:sym typeface="Times"/>
            </a:endParaRPr>
          </a:p>
        </p:txBody>
      </p:sp>
      <p:sp>
        <p:nvSpPr>
          <p:cNvPr id="582" name="Google Shape;582;p57"/>
          <p:cNvSpPr txBox="1"/>
          <p:nvPr/>
        </p:nvSpPr>
        <p:spPr>
          <a:xfrm>
            <a:off x="9368017" y="2254148"/>
            <a:ext cx="1953735" cy="5515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t" anchorCtr="0">
            <a:noAutofit/>
          </a:bodyPr>
          <a:lstStyle/>
          <a:p>
            <a:r>
              <a:rPr lang="en" sz="2448" i="1" dirty="0">
                <a:latin typeface="Times"/>
                <a:ea typeface="Times"/>
                <a:cs typeface="Times"/>
                <a:sym typeface="Times"/>
              </a:rPr>
              <a:t>A = U𝚺Vᵀ</a:t>
            </a:r>
            <a:endParaRPr sz="2448" i="1" baseline="-25000" dirty="0">
              <a:latin typeface="Times"/>
              <a:ea typeface="Times"/>
              <a:cs typeface="Times"/>
              <a:sym typeface="Times"/>
            </a:endParaRPr>
          </a:p>
        </p:txBody>
      </p:sp>
      <p:sp>
        <p:nvSpPr>
          <p:cNvPr id="583" name="Google Shape;583;p57"/>
          <p:cNvSpPr txBox="1"/>
          <p:nvPr/>
        </p:nvSpPr>
        <p:spPr>
          <a:xfrm>
            <a:off x="553534" y="2208252"/>
            <a:ext cx="2601885" cy="643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ctr" anchorCtr="0">
            <a:noAutofit/>
          </a:bodyPr>
          <a:lstStyle/>
          <a:p>
            <a:r>
              <a:rPr lang="en" sz="2448" i="1" dirty="0">
                <a:latin typeface="Times"/>
                <a:ea typeface="Times"/>
                <a:cs typeface="Times"/>
                <a:sym typeface="Times"/>
              </a:rPr>
              <a:t>    A ≅ </a:t>
            </a:r>
            <a:r>
              <a:rPr lang="en" sz="2448" i="1" dirty="0" err="1">
                <a:latin typeface="Times"/>
                <a:ea typeface="Times"/>
                <a:cs typeface="Times"/>
                <a:sym typeface="Times"/>
              </a:rPr>
              <a:t>U</a:t>
            </a:r>
            <a:r>
              <a:rPr lang="en" sz="2448" i="1" baseline="-25000" dirty="0" err="1">
                <a:latin typeface="Times"/>
                <a:ea typeface="Times"/>
                <a:cs typeface="Times"/>
                <a:sym typeface="Times"/>
              </a:rPr>
              <a:t>k</a:t>
            </a:r>
            <a:r>
              <a:rPr lang="en" sz="2448" i="1" dirty="0">
                <a:latin typeface="Times"/>
                <a:ea typeface="Times"/>
                <a:cs typeface="Times"/>
                <a:sym typeface="Times"/>
              </a:rPr>
              <a:t>𝚺</a:t>
            </a:r>
            <a:r>
              <a:rPr lang="en" sz="2448" i="1" baseline="-25000" dirty="0" err="1">
                <a:latin typeface="Times"/>
                <a:ea typeface="Times"/>
                <a:cs typeface="Times"/>
                <a:sym typeface="Times"/>
              </a:rPr>
              <a:t>k</a:t>
            </a:r>
            <a:r>
              <a:rPr lang="en" sz="2448" i="1" dirty="0" err="1">
                <a:latin typeface="Times"/>
                <a:ea typeface="Times"/>
                <a:cs typeface="Times"/>
                <a:sym typeface="Times"/>
              </a:rPr>
              <a:t>V</a:t>
            </a:r>
            <a:r>
              <a:rPr lang="en" sz="2448" i="1" baseline="-25000" dirty="0" err="1">
                <a:latin typeface="Times"/>
                <a:ea typeface="Times"/>
                <a:cs typeface="Times"/>
                <a:sym typeface="Times"/>
              </a:rPr>
              <a:t>k</a:t>
            </a:r>
            <a:r>
              <a:rPr lang="en" sz="2448" i="1" dirty="0">
                <a:latin typeface="Times"/>
                <a:ea typeface="Times"/>
                <a:cs typeface="Times"/>
                <a:sym typeface="Times"/>
              </a:rPr>
              <a:t>ᵀ</a:t>
            </a:r>
            <a:endParaRPr sz="2448" i="1" dirty="0"/>
          </a:p>
        </p:txBody>
      </p:sp>
      <p:grpSp>
        <p:nvGrpSpPr>
          <p:cNvPr id="584" name="Google Shape;584;p57"/>
          <p:cNvGrpSpPr/>
          <p:nvPr/>
        </p:nvGrpSpPr>
        <p:grpSpPr>
          <a:xfrm>
            <a:off x="667901" y="2889669"/>
            <a:ext cx="2241761" cy="1599929"/>
            <a:chOff x="182625" y="3195662"/>
            <a:chExt cx="1648504" cy="1176525"/>
          </a:xfrm>
        </p:grpSpPr>
        <p:pic>
          <p:nvPicPr>
            <p:cNvPr id="585" name="Google Shape;585;p57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768200" y="3195662"/>
              <a:ext cx="1062929" cy="11765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86" name="Google Shape;586;p57"/>
            <p:cNvSpPr txBox="1"/>
            <p:nvPr/>
          </p:nvSpPr>
          <p:spPr>
            <a:xfrm>
              <a:off x="182625" y="3602425"/>
              <a:ext cx="656450" cy="363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4327" tIns="124327" rIns="124327" bIns="124327" anchor="ctr" anchorCtr="0">
              <a:noAutofit/>
            </a:bodyPr>
            <a:lstStyle/>
            <a:p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U</a:t>
              </a:r>
              <a:r>
                <a:rPr lang="en" sz="2448" i="1" baseline="-25000" dirty="0">
                  <a:latin typeface="Times"/>
                  <a:ea typeface="Times"/>
                  <a:cs typeface="Times"/>
                  <a:sym typeface="Times"/>
                </a:rPr>
                <a:t>2 </a:t>
              </a:r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=</a:t>
              </a:r>
              <a:endParaRPr sz="2448" i="1" dirty="0"/>
            </a:p>
          </p:txBody>
        </p:sp>
      </p:grpSp>
      <p:grpSp>
        <p:nvGrpSpPr>
          <p:cNvPr id="587" name="Google Shape;587;p57"/>
          <p:cNvGrpSpPr/>
          <p:nvPr/>
        </p:nvGrpSpPr>
        <p:grpSpPr>
          <a:xfrm>
            <a:off x="3109803" y="3307526"/>
            <a:ext cx="2169882" cy="764217"/>
            <a:chOff x="2195629" y="2902050"/>
            <a:chExt cx="1595646" cy="561975"/>
          </a:xfrm>
        </p:grpSpPr>
        <p:pic>
          <p:nvPicPr>
            <p:cNvPr id="588" name="Google Shape;588;p57"/>
            <p:cNvPicPr preferRelativeResize="0"/>
            <p:nvPr/>
          </p:nvPicPr>
          <p:blipFill rotWithShape="1">
            <a:blip r:embed="rId6">
              <a:alphaModFix/>
            </a:blip>
            <a:srcRect l="27067" r="4822"/>
            <a:stretch/>
          </p:blipFill>
          <p:spPr>
            <a:xfrm>
              <a:off x="2798625" y="2902050"/>
              <a:ext cx="992650" cy="5619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89" name="Google Shape;589;p57"/>
            <p:cNvSpPr txBox="1"/>
            <p:nvPr/>
          </p:nvSpPr>
          <p:spPr>
            <a:xfrm>
              <a:off x="2195629" y="2970025"/>
              <a:ext cx="667297" cy="363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4327" tIns="124327" rIns="124327" bIns="124327" anchor="ctr" anchorCtr="0">
              <a:noAutofit/>
            </a:bodyPr>
            <a:lstStyle/>
            <a:p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𝚺</a:t>
              </a:r>
              <a:r>
                <a:rPr lang="en" sz="2448" i="1" baseline="-25000" dirty="0">
                  <a:latin typeface="Times"/>
                  <a:ea typeface="Times"/>
                  <a:cs typeface="Times"/>
                  <a:sym typeface="Times"/>
                </a:rPr>
                <a:t>2  </a:t>
              </a:r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=</a:t>
              </a:r>
              <a:endParaRPr sz="2448" i="1" dirty="0"/>
            </a:p>
          </p:txBody>
        </p:sp>
      </p:grpSp>
      <p:grpSp>
        <p:nvGrpSpPr>
          <p:cNvPr id="590" name="Google Shape;590;p57"/>
          <p:cNvGrpSpPr/>
          <p:nvPr/>
        </p:nvGrpSpPr>
        <p:grpSpPr>
          <a:xfrm>
            <a:off x="427511" y="4725622"/>
            <a:ext cx="4945499" cy="518113"/>
            <a:chOff x="343927" y="4074850"/>
            <a:chExt cx="3636727" cy="381000"/>
          </a:xfrm>
        </p:grpSpPr>
        <p:pic>
          <p:nvPicPr>
            <p:cNvPr id="591" name="Google Shape;591;p57"/>
            <p:cNvPicPr preferRelativeResize="0"/>
            <p:nvPr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1094579" y="4074850"/>
              <a:ext cx="2886075" cy="381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92" name="Google Shape;592;p57"/>
            <p:cNvSpPr txBox="1"/>
            <p:nvPr/>
          </p:nvSpPr>
          <p:spPr>
            <a:xfrm>
              <a:off x="343927" y="4083850"/>
              <a:ext cx="804672" cy="363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4327" tIns="124327" rIns="124327" bIns="124327" anchor="ctr" anchorCtr="0">
              <a:noAutofit/>
            </a:bodyPr>
            <a:lstStyle/>
            <a:p>
              <a:r>
                <a:rPr lang="en" sz="2448" i="1" dirty="0" err="1">
                  <a:latin typeface="Times"/>
                  <a:ea typeface="Times"/>
                  <a:cs typeface="Times"/>
                  <a:sym typeface="Times"/>
                </a:rPr>
                <a:t>V</a:t>
              </a:r>
              <a:r>
                <a:rPr lang="en" sz="2448" i="1" baseline="-25000" dirty="0" err="1">
                  <a:latin typeface="Times"/>
                  <a:ea typeface="Times"/>
                  <a:cs typeface="Times"/>
                  <a:sym typeface="Times"/>
                </a:rPr>
                <a:t>k</a:t>
              </a:r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ᵀ</a:t>
              </a:r>
              <a:r>
                <a:rPr lang="en" sz="2448" i="1" dirty="0"/>
                <a:t> </a:t>
              </a:r>
              <a:r>
                <a:rPr lang="en" sz="2448" i="1" baseline="-25000" dirty="0">
                  <a:latin typeface="Times"/>
                  <a:ea typeface="Times"/>
                  <a:cs typeface="Times"/>
                  <a:sym typeface="Times"/>
                </a:rPr>
                <a:t> </a:t>
              </a:r>
              <a:r>
                <a:rPr lang="en" sz="2448" i="1" dirty="0">
                  <a:latin typeface="Times"/>
                  <a:ea typeface="Times"/>
                  <a:cs typeface="Times"/>
                  <a:sym typeface="Times"/>
                </a:rPr>
                <a:t>=</a:t>
              </a:r>
              <a:endParaRPr sz="2448" i="1" dirty="0"/>
            </a:p>
          </p:txBody>
        </p:sp>
      </p:grpSp>
      <p:pic>
        <p:nvPicPr>
          <p:cNvPr id="593" name="Google Shape;593;p57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993192" y="5416184"/>
            <a:ext cx="7149959" cy="1502528"/>
          </a:xfrm>
          <a:prstGeom prst="rect">
            <a:avLst/>
          </a:prstGeom>
          <a:noFill/>
          <a:ln>
            <a:noFill/>
          </a:ln>
        </p:spPr>
      </p:pic>
      <p:sp>
        <p:nvSpPr>
          <p:cNvPr id="594" name="Google Shape;594;p57"/>
          <p:cNvSpPr txBox="1"/>
          <p:nvPr/>
        </p:nvSpPr>
        <p:spPr>
          <a:xfrm>
            <a:off x="293324" y="6269150"/>
            <a:ext cx="4728699" cy="5515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t" anchorCtr="0">
            <a:noAutofit/>
          </a:bodyPr>
          <a:lstStyle/>
          <a:p>
            <a:r>
              <a:rPr lang="en" sz="1200" dirty="0">
                <a:latin typeface="Roboto Mono"/>
                <a:ea typeface="Roboto Mono"/>
                <a:cs typeface="Roboto Mono"/>
                <a:sym typeface="Roboto Mono"/>
              </a:rPr>
              <a:t>Courtesy: http://</a:t>
            </a:r>
            <a:r>
              <a:rPr lang="en" sz="1200" dirty="0" err="1">
                <a:latin typeface="Roboto Mono"/>
                <a:ea typeface="Roboto Mono"/>
                <a:cs typeface="Roboto Mono"/>
                <a:sym typeface="Roboto Mono"/>
              </a:rPr>
              <a:t>webhome.cs.uvic.ca</a:t>
            </a:r>
            <a:r>
              <a:rPr lang="en" sz="1200" dirty="0">
                <a:latin typeface="Roboto Mono"/>
                <a:ea typeface="Roboto Mono"/>
                <a:cs typeface="Roboto Mono"/>
                <a:sym typeface="Roboto Mono"/>
              </a:rPr>
              <a:t>/~</a:t>
            </a:r>
            <a:r>
              <a:rPr lang="en" sz="1200" dirty="0" err="1">
                <a:latin typeface="Roboto Mono"/>
                <a:ea typeface="Roboto Mono"/>
                <a:cs typeface="Roboto Mono"/>
                <a:sym typeface="Roboto Mono"/>
              </a:rPr>
              <a:t>thomo</a:t>
            </a:r>
            <a:r>
              <a:rPr lang="en" sz="1200" dirty="0">
                <a:latin typeface="Roboto Mono"/>
                <a:ea typeface="Roboto Mono"/>
                <a:cs typeface="Roboto Mono"/>
                <a:sym typeface="Roboto Mono"/>
              </a:rPr>
              <a:t>/</a:t>
            </a:r>
            <a:r>
              <a:rPr lang="en" sz="1200" dirty="0" err="1">
                <a:latin typeface="Roboto Mono"/>
                <a:ea typeface="Roboto Mono"/>
                <a:cs typeface="Roboto Mono"/>
                <a:sym typeface="Roboto Mono"/>
              </a:rPr>
              <a:t>svd.pdf</a:t>
            </a:r>
            <a:endParaRPr sz="1200" dirty="0">
              <a:latin typeface="Roboto Mono"/>
              <a:ea typeface="Roboto Mono"/>
              <a:cs typeface="Roboto Mono"/>
              <a:sym typeface="Roboto Mono"/>
            </a:endParaRPr>
          </a:p>
        </p:txBody>
      </p:sp>
      <p:sp>
        <p:nvSpPr>
          <p:cNvPr id="595" name="Google Shape;595;p57"/>
          <p:cNvSpPr txBox="1"/>
          <p:nvPr/>
        </p:nvSpPr>
        <p:spPr>
          <a:xfrm>
            <a:off x="4017243" y="2269898"/>
            <a:ext cx="4779592" cy="55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t" anchorCtr="0">
            <a:noAutofit/>
          </a:bodyPr>
          <a:lstStyle/>
          <a:p>
            <a:r>
              <a:rPr lang="en" sz="2448" dirty="0">
                <a:latin typeface="Roboto"/>
                <a:ea typeface="Roboto"/>
                <a:cs typeface="Roboto"/>
                <a:sym typeface="Roboto"/>
              </a:rPr>
              <a:t>Embedding by Matrix Factorization</a:t>
            </a:r>
            <a:endParaRPr sz="2448" dirty="0"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96" name="Google Shape;596;p57"/>
          <p:cNvPicPr preferRelativeResize="0"/>
          <p:nvPr/>
        </p:nvPicPr>
        <p:blipFill rotWithShape="1">
          <a:blip r:embed="rId9">
            <a:alphaModFix/>
          </a:blip>
          <a:srcRect l="17180" r="4011"/>
          <a:stretch/>
        </p:blipFill>
        <p:spPr>
          <a:xfrm>
            <a:off x="8300787" y="3490531"/>
            <a:ext cx="3103204" cy="1282330"/>
          </a:xfrm>
          <a:prstGeom prst="rect">
            <a:avLst/>
          </a:prstGeom>
          <a:noFill/>
          <a:ln>
            <a:noFill/>
          </a:ln>
        </p:spPr>
      </p:pic>
      <p:sp>
        <p:nvSpPr>
          <p:cNvPr id="597" name="Google Shape;597;p57"/>
          <p:cNvSpPr/>
          <p:nvPr/>
        </p:nvSpPr>
        <p:spPr>
          <a:xfrm>
            <a:off x="8500926" y="3620331"/>
            <a:ext cx="1149232" cy="41857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4327" tIns="124327" rIns="124327" bIns="124327" anchor="ctr" anchorCtr="0">
            <a:noAutofit/>
          </a:bodyPr>
          <a:lstStyle/>
          <a:p>
            <a:endParaRPr sz="2448"/>
          </a:p>
        </p:txBody>
      </p:sp>
      <p:sp>
        <p:nvSpPr>
          <p:cNvPr id="598" name="Google Shape;598;p57"/>
          <p:cNvSpPr txBox="1"/>
          <p:nvPr/>
        </p:nvSpPr>
        <p:spPr>
          <a:xfrm>
            <a:off x="7469580" y="3884895"/>
            <a:ext cx="907088" cy="493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4327" tIns="124327" rIns="124327" bIns="124327" anchor="ctr" anchorCtr="0">
            <a:noAutofit/>
          </a:bodyPr>
          <a:lstStyle/>
          <a:p>
            <a:r>
              <a:rPr lang="en" sz="2448" i="1">
                <a:latin typeface="Times"/>
                <a:ea typeface="Times"/>
                <a:cs typeface="Times"/>
                <a:sym typeface="Times"/>
              </a:rPr>
              <a:t>𝚺</a:t>
            </a:r>
            <a:r>
              <a:rPr lang="en" sz="2448" i="1" baseline="-25000">
                <a:latin typeface="Times"/>
                <a:ea typeface="Times"/>
                <a:cs typeface="Times"/>
                <a:sym typeface="Times"/>
              </a:rPr>
              <a:t>  </a:t>
            </a:r>
            <a:r>
              <a:rPr lang="en" sz="2448" i="1">
                <a:latin typeface="Times"/>
                <a:ea typeface="Times"/>
                <a:cs typeface="Times"/>
                <a:sym typeface="Times"/>
              </a:rPr>
              <a:t>=</a:t>
            </a:r>
            <a:endParaRPr sz="2448" i="1"/>
          </a:p>
        </p:txBody>
      </p:sp>
    </p:spTree>
    <p:extLst>
      <p:ext uri="{BB962C8B-B14F-4D97-AF65-F5344CB8AC3E}">
        <p14:creationId xmlns:p14="http://schemas.microsoft.com/office/powerpoint/2010/main" val="3194755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B251E-434E-4F40-9068-976340E2A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105539"/>
          </a:xfrm>
        </p:spPr>
        <p:txBody>
          <a:bodyPr/>
          <a:lstStyle/>
          <a:p>
            <a:r>
              <a:rPr lang="en-US" dirty="0"/>
              <a:t>One-Hot Encoding</a:t>
            </a:r>
          </a:p>
        </p:txBody>
      </p:sp>
      <p:grpSp>
        <p:nvGrpSpPr>
          <p:cNvPr id="5" name="Google Shape;424;p49">
            <a:extLst>
              <a:ext uri="{FF2B5EF4-FFF2-40B4-BE49-F238E27FC236}">
                <a16:creationId xmlns:a16="http://schemas.microsoft.com/office/drawing/2014/main" id="{88B0C18C-0F05-D243-9323-00653941005B}"/>
              </a:ext>
            </a:extLst>
          </p:cNvPr>
          <p:cNvGrpSpPr/>
          <p:nvPr/>
        </p:nvGrpSpPr>
        <p:grpSpPr>
          <a:xfrm>
            <a:off x="4760061" y="1848304"/>
            <a:ext cx="423586" cy="4119307"/>
            <a:chOff x="4374300" y="2875684"/>
            <a:chExt cx="169200" cy="1356000"/>
          </a:xfrm>
        </p:grpSpPr>
        <p:sp>
          <p:nvSpPr>
            <p:cNvPr id="6" name="Google Shape;425;p49">
              <a:extLst>
                <a:ext uri="{FF2B5EF4-FFF2-40B4-BE49-F238E27FC236}">
                  <a16:creationId xmlns:a16="http://schemas.microsoft.com/office/drawing/2014/main" id="{6AF024A9-E578-554B-9808-AD85B24E0784}"/>
                </a:ext>
              </a:extLst>
            </p:cNvPr>
            <p:cNvSpPr/>
            <p:nvPr/>
          </p:nvSpPr>
          <p:spPr>
            <a:xfrm>
              <a:off x="4374300" y="30508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426;p49">
              <a:extLst>
                <a:ext uri="{FF2B5EF4-FFF2-40B4-BE49-F238E27FC236}">
                  <a16:creationId xmlns:a16="http://schemas.microsoft.com/office/drawing/2014/main" id="{06761DC3-F4E7-8B4E-8019-8F6F71DCEBAA}"/>
                </a:ext>
              </a:extLst>
            </p:cNvPr>
            <p:cNvSpPr/>
            <p:nvPr/>
          </p:nvSpPr>
          <p:spPr>
            <a:xfrm>
              <a:off x="4374300" y="32260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427;p49">
              <a:extLst>
                <a:ext uri="{FF2B5EF4-FFF2-40B4-BE49-F238E27FC236}">
                  <a16:creationId xmlns:a16="http://schemas.microsoft.com/office/drawing/2014/main" id="{9A5DB095-02F2-7042-B767-86C00A144839}"/>
                </a:ext>
              </a:extLst>
            </p:cNvPr>
            <p:cNvSpPr/>
            <p:nvPr/>
          </p:nvSpPr>
          <p:spPr>
            <a:xfrm>
              <a:off x="4374300" y="33784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428;p49">
              <a:extLst>
                <a:ext uri="{FF2B5EF4-FFF2-40B4-BE49-F238E27FC236}">
                  <a16:creationId xmlns:a16="http://schemas.microsoft.com/office/drawing/2014/main" id="{2B5B8357-54EA-C548-9DA7-25C006EF5059}"/>
                </a:ext>
              </a:extLst>
            </p:cNvPr>
            <p:cNvSpPr/>
            <p:nvPr/>
          </p:nvSpPr>
          <p:spPr>
            <a:xfrm>
              <a:off x="4374300" y="35308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429;p49">
              <a:extLst>
                <a:ext uri="{FF2B5EF4-FFF2-40B4-BE49-F238E27FC236}">
                  <a16:creationId xmlns:a16="http://schemas.microsoft.com/office/drawing/2014/main" id="{703DD6E7-2A2E-1946-9828-C51C08D49B85}"/>
                </a:ext>
              </a:extLst>
            </p:cNvPr>
            <p:cNvSpPr/>
            <p:nvPr/>
          </p:nvSpPr>
          <p:spPr>
            <a:xfrm>
              <a:off x="4374300" y="3706084"/>
              <a:ext cx="169200" cy="175200"/>
            </a:xfrm>
            <a:prstGeom prst="rect">
              <a:avLst/>
            </a:prstGeom>
            <a:solidFill>
              <a:srgbClr val="E6B8A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430;p49">
              <a:extLst>
                <a:ext uri="{FF2B5EF4-FFF2-40B4-BE49-F238E27FC236}">
                  <a16:creationId xmlns:a16="http://schemas.microsoft.com/office/drawing/2014/main" id="{F011642F-E1A5-7841-BDD9-A1A2205C1061}"/>
                </a:ext>
              </a:extLst>
            </p:cNvPr>
            <p:cNvSpPr/>
            <p:nvPr/>
          </p:nvSpPr>
          <p:spPr>
            <a:xfrm>
              <a:off x="4374300" y="38812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431;p49">
              <a:extLst>
                <a:ext uri="{FF2B5EF4-FFF2-40B4-BE49-F238E27FC236}">
                  <a16:creationId xmlns:a16="http://schemas.microsoft.com/office/drawing/2014/main" id="{E74E9D43-7C3B-5A49-9F50-304E59E47DD2}"/>
                </a:ext>
              </a:extLst>
            </p:cNvPr>
            <p:cNvSpPr/>
            <p:nvPr/>
          </p:nvSpPr>
          <p:spPr>
            <a:xfrm>
              <a:off x="4374300" y="40564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432;p49">
              <a:extLst>
                <a:ext uri="{FF2B5EF4-FFF2-40B4-BE49-F238E27FC236}">
                  <a16:creationId xmlns:a16="http://schemas.microsoft.com/office/drawing/2014/main" id="{631079BF-B64B-344C-A898-00AA52A4D29A}"/>
                </a:ext>
              </a:extLst>
            </p:cNvPr>
            <p:cNvSpPr/>
            <p:nvPr/>
          </p:nvSpPr>
          <p:spPr>
            <a:xfrm>
              <a:off x="4374300" y="2875684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oogle Shape;433;p49">
            <a:extLst>
              <a:ext uri="{FF2B5EF4-FFF2-40B4-BE49-F238E27FC236}">
                <a16:creationId xmlns:a16="http://schemas.microsoft.com/office/drawing/2014/main" id="{4E856B57-79FC-3C4A-A61E-A7D072004DEE}"/>
              </a:ext>
            </a:extLst>
          </p:cNvPr>
          <p:cNvGrpSpPr/>
          <p:nvPr/>
        </p:nvGrpSpPr>
        <p:grpSpPr>
          <a:xfrm>
            <a:off x="3818634" y="1877182"/>
            <a:ext cx="423586" cy="4107982"/>
            <a:chOff x="3757025" y="3025250"/>
            <a:chExt cx="169200" cy="1352272"/>
          </a:xfrm>
        </p:grpSpPr>
        <p:sp>
          <p:nvSpPr>
            <p:cNvPr id="15" name="Google Shape;434;p49">
              <a:extLst>
                <a:ext uri="{FF2B5EF4-FFF2-40B4-BE49-F238E27FC236}">
                  <a16:creationId xmlns:a16="http://schemas.microsoft.com/office/drawing/2014/main" id="{D3528AEA-C6AA-604E-B2D7-29ABC205ADB2}"/>
                </a:ext>
              </a:extLst>
            </p:cNvPr>
            <p:cNvSpPr/>
            <p:nvPr/>
          </p:nvSpPr>
          <p:spPr>
            <a:xfrm>
              <a:off x="3757025" y="30252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435;p49">
              <a:extLst>
                <a:ext uri="{FF2B5EF4-FFF2-40B4-BE49-F238E27FC236}">
                  <a16:creationId xmlns:a16="http://schemas.microsoft.com/office/drawing/2014/main" id="{40BCBBFB-8498-EC41-B27B-A0FFC744E336}"/>
                </a:ext>
              </a:extLst>
            </p:cNvPr>
            <p:cNvSpPr/>
            <p:nvPr/>
          </p:nvSpPr>
          <p:spPr>
            <a:xfrm>
              <a:off x="3757025" y="32004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436;p49">
              <a:extLst>
                <a:ext uri="{FF2B5EF4-FFF2-40B4-BE49-F238E27FC236}">
                  <a16:creationId xmlns:a16="http://schemas.microsoft.com/office/drawing/2014/main" id="{A0628072-3910-C849-A99E-E6C34B6D8F6D}"/>
                </a:ext>
              </a:extLst>
            </p:cNvPr>
            <p:cNvSpPr/>
            <p:nvPr/>
          </p:nvSpPr>
          <p:spPr>
            <a:xfrm>
              <a:off x="3757025" y="33528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437;p49">
              <a:extLst>
                <a:ext uri="{FF2B5EF4-FFF2-40B4-BE49-F238E27FC236}">
                  <a16:creationId xmlns:a16="http://schemas.microsoft.com/office/drawing/2014/main" id="{BBFFAD59-CF7F-FD4E-931B-AA41AB5A5445}"/>
                </a:ext>
              </a:extLst>
            </p:cNvPr>
            <p:cNvSpPr/>
            <p:nvPr/>
          </p:nvSpPr>
          <p:spPr>
            <a:xfrm>
              <a:off x="3757025" y="35052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438;p49">
              <a:extLst>
                <a:ext uri="{FF2B5EF4-FFF2-40B4-BE49-F238E27FC236}">
                  <a16:creationId xmlns:a16="http://schemas.microsoft.com/office/drawing/2014/main" id="{1943248A-9250-8945-A877-5A5E7BDB858F}"/>
                </a:ext>
              </a:extLst>
            </p:cNvPr>
            <p:cNvSpPr/>
            <p:nvPr/>
          </p:nvSpPr>
          <p:spPr>
            <a:xfrm>
              <a:off x="3757025" y="36804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439;p49">
              <a:extLst>
                <a:ext uri="{FF2B5EF4-FFF2-40B4-BE49-F238E27FC236}">
                  <a16:creationId xmlns:a16="http://schemas.microsoft.com/office/drawing/2014/main" id="{A5EA32C5-5A4C-2A49-BDF9-0FF29F5719C0}"/>
                </a:ext>
              </a:extLst>
            </p:cNvPr>
            <p:cNvSpPr/>
            <p:nvPr/>
          </p:nvSpPr>
          <p:spPr>
            <a:xfrm>
              <a:off x="3757025" y="3855650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440;p49">
              <a:extLst>
                <a:ext uri="{FF2B5EF4-FFF2-40B4-BE49-F238E27FC236}">
                  <a16:creationId xmlns:a16="http://schemas.microsoft.com/office/drawing/2014/main" id="{F9285AC0-0E11-0846-AA13-56A82D98689E}"/>
                </a:ext>
              </a:extLst>
            </p:cNvPr>
            <p:cNvSpPr/>
            <p:nvPr/>
          </p:nvSpPr>
          <p:spPr>
            <a:xfrm>
              <a:off x="3757025" y="4030850"/>
              <a:ext cx="169200" cy="175200"/>
            </a:xfrm>
            <a:prstGeom prst="rect">
              <a:avLst/>
            </a:prstGeom>
            <a:solidFill>
              <a:srgbClr val="E6B8A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41;p49">
              <a:extLst>
                <a:ext uri="{FF2B5EF4-FFF2-40B4-BE49-F238E27FC236}">
                  <a16:creationId xmlns:a16="http://schemas.microsoft.com/office/drawing/2014/main" id="{F296F36A-A99A-BD43-B01B-7DD4117A5C64}"/>
                </a:ext>
              </a:extLst>
            </p:cNvPr>
            <p:cNvSpPr/>
            <p:nvPr/>
          </p:nvSpPr>
          <p:spPr>
            <a:xfrm>
              <a:off x="3757025" y="4202322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Google Shape;442;p49">
            <a:extLst>
              <a:ext uri="{FF2B5EF4-FFF2-40B4-BE49-F238E27FC236}">
                <a16:creationId xmlns:a16="http://schemas.microsoft.com/office/drawing/2014/main" id="{EC3A7E32-0BC2-2048-9952-9B3CD73CC35F}"/>
              </a:ext>
            </a:extLst>
          </p:cNvPr>
          <p:cNvGrpSpPr/>
          <p:nvPr/>
        </p:nvGrpSpPr>
        <p:grpSpPr>
          <a:xfrm>
            <a:off x="6503974" y="1848462"/>
            <a:ext cx="423586" cy="4124319"/>
            <a:chOff x="7766950" y="2848409"/>
            <a:chExt cx="169200" cy="1357650"/>
          </a:xfrm>
        </p:grpSpPr>
        <p:grpSp>
          <p:nvGrpSpPr>
            <p:cNvPr id="24" name="Google Shape;443;p49">
              <a:extLst>
                <a:ext uri="{FF2B5EF4-FFF2-40B4-BE49-F238E27FC236}">
                  <a16:creationId xmlns:a16="http://schemas.microsoft.com/office/drawing/2014/main" id="{D6257E70-59BD-1E4E-8BC3-48415577F044}"/>
                </a:ext>
              </a:extLst>
            </p:cNvPr>
            <p:cNvGrpSpPr/>
            <p:nvPr/>
          </p:nvGrpSpPr>
          <p:grpSpPr>
            <a:xfrm rot="5400000">
              <a:off x="7261150" y="3531059"/>
              <a:ext cx="1180800" cy="169200"/>
              <a:chOff x="3957550" y="1152475"/>
              <a:chExt cx="1180800" cy="169200"/>
            </a:xfrm>
          </p:grpSpPr>
          <p:sp>
            <p:nvSpPr>
              <p:cNvPr id="26" name="Google Shape;444;p49">
                <a:extLst>
                  <a:ext uri="{FF2B5EF4-FFF2-40B4-BE49-F238E27FC236}">
                    <a16:creationId xmlns:a16="http://schemas.microsoft.com/office/drawing/2014/main" id="{1E81C097-36F7-8544-8A3C-126535256E96}"/>
                  </a:ext>
                </a:extLst>
              </p:cNvPr>
              <p:cNvSpPr/>
              <p:nvPr/>
            </p:nvSpPr>
            <p:spPr>
              <a:xfrm rot="-5400000">
                <a:off x="3960550" y="1149475"/>
                <a:ext cx="169200" cy="175200"/>
              </a:xfrm>
              <a:prstGeom prst="rect">
                <a:avLst/>
              </a:prstGeom>
              <a:solidFill>
                <a:srgbClr val="E6B8A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445;p49">
                <a:extLst>
                  <a:ext uri="{FF2B5EF4-FFF2-40B4-BE49-F238E27FC236}">
                    <a16:creationId xmlns:a16="http://schemas.microsoft.com/office/drawing/2014/main" id="{D14B959E-43D5-6645-8E7B-1BEF171307FB}"/>
                  </a:ext>
                </a:extLst>
              </p:cNvPr>
              <p:cNvSpPr/>
              <p:nvPr/>
            </p:nvSpPr>
            <p:spPr>
              <a:xfrm rot="-5400000">
                <a:off x="413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446;p49">
                <a:extLst>
                  <a:ext uri="{FF2B5EF4-FFF2-40B4-BE49-F238E27FC236}">
                    <a16:creationId xmlns:a16="http://schemas.microsoft.com/office/drawing/2014/main" id="{E18E3B72-C8A8-364B-AD2B-77146DD223F9}"/>
                  </a:ext>
                </a:extLst>
              </p:cNvPr>
              <p:cNvSpPr/>
              <p:nvPr/>
            </p:nvSpPr>
            <p:spPr>
              <a:xfrm rot="-5400000">
                <a:off x="42881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447;p49">
                <a:extLst>
                  <a:ext uri="{FF2B5EF4-FFF2-40B4-BE49-F238E27FC236}">
                    <a16:creationId xmlns:a16="http://schemas.microsoft.com/office/drawing/2014/main" id="{F13EFBBD-4292-D640-AB89-9511EEE8B0BD}"/>
                  </a:ext>
                </a:extLst>
              </p:cNvPr>
              <p:cNvSpPr/>
              <p:nvPr/>
            </p:nvSpPr>
            <p:spPr>
              <a:xfrm rot="-5400000">
                <a:off x="44405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448;p49">
                <a:extLst>
                  <a:ext uri="{FF2B5EF4-FFF2-40B4-BE49-F238E27FC236}">
                    <a16:creationId xmlns:a16="http://schemas.microsoft.com/office/drawing/2014/main" id="{EF64FCFD-5461-A249-8672-F5FFDF894D52}"/>
                  </a:ext>
                </a:extLst>
              </p:cNvPr>
              <p:cNvSpPr/>
              <p:nvPr/>
            </p:nvSpPr>
            <p:spPr>
              <a:xfrm rot="-5400000">
                <a:off x="461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449;p49">
                <a:extLst>
                  <a:ext uri="{FF2B5EF4-FFF2-40B4-BE49-F238E27FC236}">
                    <a16:creationId xmlns:a16="http://schemas.microsoft.com/office/drawing/2014/main" id="{1D94D6DA-2D0E-8645-BB6F-D07B522C8B43}"/>
                  </a:ext>
                </a:extLst>
              </p:cNvPr>
              <p:cNvSpPr/>
              <p:nvPr/>
            </p:nvSpPr>
            <p:spPr>
              <a:xfrm rot="-5400000">
                <a:off x="47909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450;p49">
                <a:extLst>
                  <a:ext uri="{FF2B5EF4-FFF2-40B4-BE49-F238E27FC236}">
                    <a16:creationId xmlns:a16="http://schemas.microsoft.com/office/drawing/2014/main" id="{5177E63E-ED24-FD40-B967-0A727962E3B1}"/>
                  </a:ext>
                </a:extLst>
              </p:cNvPr>
              <p:cNvSpPr/>
              <p:nvPr/>
            </p:nvSpPr>
            <p:spPr>
              <a:xfrm rot="-5400000">
                <a:off x="49661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5" name="Google Shape;451;p49">
              <a:extLst>
                <a:ext uri="{FF2B5EF4-FFF2-40B4-BE49-F238E27FC236}">
                  <a16:creationId xmlns:a16="http://schemas.microsoft.com/office/drawing/2014/main" id="{040A79DC-F9D3-DB46-9E6E-13A2E648D8D9}"/>
                </a:ext>
              </a:extLst>
            </p:cNvPr>
            <p:cNvSpPr/>
            <p:nvPr/>
          </p:nvSpPr>
          <p:spPr>
            <a:xfrm>
              <a:off x="7766950" y="2848409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3" name="Google Shape;452;p49">
            <a:extLst>
              <a:ext uri="{FF2B5EF4-FFF2-40B4-BE49-F238E27FC236}">
                <a16:creationId xmlns:a16="http://schemas.microsoft.com/office/drawing/2014/main" id="{0470C7E8-C39B-E24E-90F0-CE1E869E0B27}"/>
              </a:ext>
            </a:extLst>
          </p:cNvPr>
          <p:cNvGrpSpPr/>
          <p:nvPr/>
        </p:nvGrpSpPr>
        <p:grpSpPr>
          <a:xfrm>
            <a:off x="7374082" y="1854231"/>
            <a:ext cx="423586" cy="4119307"/>
            <a:chOff x="8426475" y="2875684"/>
            <a:chExt cx="169200" cy="1356000"/>
          </a:xfrm>
        </p:grpSpPr>
        <p:grpSp>
          <p:nvGrpSpPr>
            <p:cNvPr id="34" name="Google Shape;453;p49">
              <a:extLst>
                <a:ext uri="{FF2B5EF4-FFF2-40B4-BE49-F238E27FC236}">
                  <a16:creationId xmlns:a16="http://schemas.microsoft.com/office/drawing/2014/main" id="{DBB48A06-6456-874C-8114-B6764EF4A2A9}"/>
                </a:ext>
              </a:extLst>
            </p:cNvPr>
            <p:cNvGrpSpPr/>
            <p:nvPr/>
          </p:nvGrpSpPr>
          <p:grpSpPr>
            <a:xfrm rot="5400000">
              <a:off x="7920675" y="3556684"/>
              <a:ext cx="1180800" cy="169200"/>
              <a:chOff x="3957550" y="1152475"/>
              <a:chExt cx="1180800" cy="169200"/>
            </a:xfrm>
          </p:grpSpPr>
          <p:sp>
            <p:nvSpPr>
              <p:cNvPr id="36" name="Google Shape;454;p49">
                <a:extLst>
                  <a:ext uri="{FF2B5EF4-FFF2-40B4-BE49-F238E27FC236}">
                    <a16:creationId xmlns:a16="http://schemas.microsoft.com/office/drawing/2014/main" id="{4EBF7361-96ED-7845-ADDD-05A200A4B73E}"/>
                  </a:ext>
                </a:extLst>
              </p:cNvPr>
              <p:cNvSpPr/>
              <p:nvPr/>
            </p:nvSpPr>
            <p:spPr>
              <a:xfrm rot="-5400000">
                <a:off x="39605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455;p49">
                <a:extLst>
                  <a:ext uri="{FF2B5EF4-FFF2-40B4-BE49-F238E27FC236}">
                    <a16:creationId xmlns:a16="http://schemas.microsoft.com/office/drawing/2014/main" id="{7C8D2B81-B937-2841-9A2C-FA496F4CF5BF}"/>
                  </a:ext>
                </a:extLst>
              </p:cNvPr>
              <p:cNvSpPr/>
              <p:nvPr/>
            </p:nvSpPr>
            <p:spPr>
              <a:xfrm rot="-5400000">
                <a:off x="413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456;p49">
                <a:extLst>
                  <a:ext uri="{FF2B5EF4-FFF2-40B4-BE49-F238E27FC236}">
                    <a16:creationId xmlns:a16="http://schemas.microsoft.com/office/drawing/2014/main" id="{1592CCAB-C7DF-B349-B741-A6F2A42D38CD}"/>
                  </a:ext>
                </a:extLst>
              </p:cNvPr>
              <p:cNvSpPr/>
              <p:nvPr/>
            </p:nvSpPr>
            <p:spPr>
              <a:xfrm rot="-5400000">
                <a:off x="42881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457;p49">
                <a:extLst>
                  <a:ext uri="{FF2B5EF4-FFF2-40B4-BE49-F238E27FC236}">
                    <a16:creationId xmlns:a16="http://schemas.microsoft.com/office/drawing/2014/main" id="{26D3662E-9BE8-4544-A214-769FC4811C9A}"/>
                  </a:ext>
                </a:extLst>
              </p:cNvPr>
              <p:cNvSpPr/>
              <p:nvPr/>
            </p:nvSpPr>
            <p:spPr>
              <a:xfrm rot="-5400000">
                <a:off x="44405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458;p49">
                <a:extLst>
                  <a:ext uri="{FF2B5EF4-FFF2-40B4-BE49-F238E27FC236}">
                    <a16:creationId xmlns:a16="http://schemas.microsoft.com/office/drawing/2014/main" id="{50155E26-1C00-E142-AD8D-7401F5C93D52}"/>
                  </a:ext>
                </a:extLst>
              </p:cNvPr>
              <p:cNvSpPr/>
              <p:nvPr/>
            </p:nvSpPr>
            <p:spPr>
              <a:xfrm rot="-5400000">
                <a:off x="461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459;p49">
                <a:extLst>
                  <a:ext uri="{FF2B5EF4-FFF2-40B4-BE49-F238E27FC236}">
                    <a16:creationId xmlns:a16="http://schemas.microsoft.com/office/drawing/2014/main" id="{5E58C250-98EB-6A42-9302-294929FF373E}"/>
                  </a:ext>
                </a:extLst>
              </p:cNvPr>
              <p:cNvSpPr/>
              <p:nvPr/>
            </p:nvSpPr>
            <p:spPr>
              <a:xfrm rot="-5400000">
                <a:off x="47909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460;p49">
                <a:extLst>
                  <a:ext uri="{FF2B5EF4-FFF2-40B4-BE49-F238E27FC236}">
                    <a16:creationId xmlns:a16="http://schemas.microsoft.com/office/drawing/2014/main" id="{5F767E57-F81D-AB4C-A5A1-BBDA05D9F25D}"/>
                  </a:ext>
                </a:extLst>
              </p:cNvPr>
              <p:cNvSpPr/>
              <p:nvPr/>
            </p:nvSpPr>
            <p:spPr>
              <a:xfrm rot="-5400000">
                <a:off x="49661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5" name="Google Shape;461;p49">
              <a:extLst>
                <a:ext uri="{FF2B5EF4-FFF2-40B4-BE49-F238E27FC236}">
                  <a16:creationId xmlns:a16="http://schemas.microsoft.com/office/drawing/2014/main" id="{1375354C-CF2F-A243-B179-ED641854225C}"/>
                </a:ext>
              </a:extLst>
            </p:cNvPr>
            <p:cNvSpPr/>
            <p:nvPr/>
          </p:nvSpPr>
          <p:spPr>
            <a:xfrm>
              <a:off x="8426475" y="2875684"/>
              <a:ext cx="169200" cy="175200"/>
            </a:xfrm>
            <a:prstGeom prst="rect">
              <a:avLst/>
            </a:prstGeom>
            <a:solidFill>
              <a:srgbClr val="E6B8A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468;p49">
            <a:extLst>
              <a:ext uri="{FF2B5EF4-FFF2-40B4-BE49-F238E27FC236}">
                <a16:creationId xmlns:a16="http://schemas.microsoft.com/office/drawing/2014/main" id="{E2A10C02-F300-7F45-8B49-ED2CF05D57D3}"/>
              </a:ext>
            </a:extLst>
          </p:cNvPr>
          <p:cNvGrpSpPr/>
          <p:nvPr/>
        </p:nvGrpSpPr>
        <p:grpSpPr>
          <a:xfrm>
            <a:off x="5631988" y="1845746"/>
            <a:ext cx="423586" cy="4124380"/>
            <a:chOff x="6091750" y="2848388"/>
            <a:chExt cx="169200" cy="1357670"/>
          </a:xfrm>
        </p:grpSpPr>
        <p:grpSp>
          <p:nvGrpSpPr>
            <p:cNvPr id="47" name="Google Shape;469;p49">
              <a:extLst>
                <a:ext uri="{FF2B5EF4-FFF2-40B4-BE49-F238E27FC236}">
                  <a16:creationId xmlns:a16="http://schemas.microsoft.com/office/drawing/2014/main" id="{DEBC400F-B5AA-004B-AC47-1B182749040B}"/>
                </a:ext>
              </a:extLst>
            </p:cNvPr>
            <p:cNvGrpSpPr/>
            <p:nvPr/>
          </p:nvGrpSpPr>
          <p:grpSpPr>
            <a:xfrm rot="5400000">
              <a:off x="5585950" y="3531059"/>
              <a:ext cx="1180800" cy="169200"/>
              <a:chOff x="3957550" y="1152475"/>
              <a:chExt cx="1180800" cy="169200"/>
            </a:xfrm>
          </p:grpSpPr>
          <p:sp>
            <p:nvSpPr>
              <p:cNvPr id="49" name="Google Shape;470;p49">
                <a:extLst>
                  <a:ext uri="{FF2B5EF4-FFF2-40B4-BE49-F238E27FC236}">
                    <a16:creationId xmlns:a16="http://schemas.microsoft.com/office/drawing/2014/main" id="{1D3606F4-FC6F-2641-8416-10DFE1E540AA}"/>
                  </a:ext>
                </a:extLst>
              </p:cNvPr>
              <p:cNvSpPr/>
              <p:nvPr/>
            </p:nvSpPr>
            <p:spPr>
              <a:xfrm rot="-5400000">
                <a:off x="39605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471;p49">
                <a:extLst>
                  <a:ext uri="{FF2B5EF4-FFF2-40B4-BE49-F238E27FC236}">
                    <a16:creationId xmlns:a16="http://schemas.microsoft.com/office/drawing/2014/main" id="{90CFA47F-E84C-C247-97C3-B4FBFF9F5FDF}"/>
                  </a:ext>
                </a:extLst>
              </p:cNvPr>
              <p:cNvSpPr/>
              <p:nvPr/>
            </p:nvSpPr>
            <p:spPr>
              <a:xfrm rot="-5400000">
                <a:off x="413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472;p49">
                <a:extLst>
                  <a:ext uri="{FF2B5EF4-FFF2-40B4-BE49-F238E27FC236}">
                    <a16:creationId xmlns:a16="http://schemas.microsoft.com/office/drawing/2014/main" id="{CC8BF7B4-83B7-6D4F-B817-57BB2DD036EF}"/>
                  </a:ext>
                </a:extLst>
              </p:cNvPr>
              <p:cNvSpPr/>
              <p:nvPr/>
            </p:nvSpPr>
            <p:spPr>
              <a:xfrm rot="-5400000">
                <a:off x="4288150" y="1149475"/>
                <a:ext cx="169200" cy="175200"/>
              </a:xfrm>
              <a:prstGeom prst="rect">
                <a:avLst/>
              </a:prstGeom>
              <a:solidFill>
                <a:srgbClr val="E6B8A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473;p49">
                <a:extLst>
                  <a:ext uri="{FF2B5EF4-FFF2-40B4-BE49-F238E27FC236}">
                    <a16:creationId xmlns:a16="http://schemas.microsoft.com/office/drawing/2014/main" id="{BC2FB559-65A7-5D46-8FE3-863385D36D03}"/>
                  </a:ext>
                </a:extLst>
              </p:cNvPr>
              <p:cNvSpPr/>
              <p:nvPr/>
            </p:nvSpPr>
            <p:spPr>
              <a:xfrm rot="-5400000">
                <a:off x="44405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474;p49">
                <a:extLst>
                  <a:ext uri="{FF2B5EF4-FFF2-40B4-BE49-F238E27FC236}">
                    <a16:creationId xmlns:a16="http://schemas.microsoft.com/office/drawing/2014/main" id="{BED0F344-475D-EC48-8E59-4110BD0E21E5}"/>
                  </a:ext>
                </a:extLst>
              </p:cNvPr>
              <p:cNvSpPr/>
              <p:nvPr/>
            </p:nvSpPr>
            <p:spPr>
              <a:xfrm rot="-5400000">
                <a:off x="46157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475;p49">
                <a:extLst>
                  <a:ext uri="{FF2B5EF4-FFF2-40B4-BE49-F238E27FC236}">
                    <a16:creationId xmlns:a16="http://schemas.microsoft.com/office/drawing/2014/main" id="{49AFE5F6-A4EA-1D4F-9080-5758C9688B23}"/>
                  </a:ext>
                </a:extLst>
              </p:cNvPr>
              <p:cNvSpPr/>
              <p:nvPr/>
            </p:nvSpPr>
            <p:spPr>
              <a:xfrm rot="-5400000">
                <a:off x="47909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476;p49">
                <a:extLst>
                  <a:ext uri="{FF2B5EF4-FFF2-40B4-BE49-F238E27FC236}">
                    <a16:creationId xmlns:a16="http://schemas.microsoft.com/office/drawing/2014/main" id="{B915C022-E0C7-B147-BF68-C0B095371659}"/>
                  </a:ext>
                </a:extLst>
              </p:cNvPr>
              <p:cNvSpPr/>
              <p:nvPr/>
            </p:nvSpPr>
            <p:spPr>
              <a:xfrm rot="-5400000">
                <a:off x="4966150" y="1149475"/>
                <a:ext cx="169200" cy="175200"/>
              </a:xfrm>
              <a:prstGeom prst="rect">
                <a:avLst/>
              </a:prstGeom>
              <a:solidFill>
                <a:srgbClr val="EFEFE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48" name="Google Shape;477;p49">
              <a:extLst>
                <a:ext uri="{FF2B5EF4-FFF2-40B4-BE49-F238E27FC236}">
                  <a16:creationId xmlns:a16="http://schemas.microsoft.com/office/drawing/2014/main" id="{F48B5739-5BFF-154E-8AD1-9B14C1CAC11C}"/>
                </a:ext>
              </a:extLst>
            </p:cNvPr>
            <p:cNvSpPr/>
            <p:nvPr/>
          </p:nvSpPr>
          <p:spPr>
            <a:xfrm>
              <a:off x="6091750" y="2848388"/>
              <a:ext cx="169200" cy="175200"/>
            </a:xfrm>
            <a:prstGeom prst="rect">
              <a:avLst/>
            </a:prstGeom>
            <a:solidFill>
              <a:srgbClr val="EFEFE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6" name="Google Shape;478;p49">
            <a:extLst>
              <a:ext uri="{FF2B5EF4-FFF2-40B4-BE49-F238E27FC236}">
                <a16:creationId xmlns:a16="http://schemas.microsoft.com/office/drawing/2014/main" id="{0290A79C-328A-5544-B0F6-015BE5D55134}"/>
              </a:ext>
            </a:extLst>
          </p:cNvPr>
          <p:cNvGrpSpPr/>
          <p:nvPr/>
        </p:nvGrpSpPr>
        <p:grpSpPr>
          <a:xfrm>
            <a:off x="7950496" y="1854231"/>
            <a:ext cx="1498440" cy="4214422"/>
            <a:chOff x="5435842" y="855122"/>
            <a:chExt cx="598547" cy="1387310"/>
          </a:xfrm>
        </p:grpSpPr>
        <p:sp>
          <p:nvSpPr>
            <p:cNvPr id="57" name="Google Shape;479;p49">
              <a:extLst>
                <a:ext uri="{FF2B5EF4-FFF2-40B4-BE49-F238E27FC236}">
                  <a16:creationId xmlns:a16="http://schemas.microsoft.com/office/drawing/2014/main" id="{125C6B0D-CAB1-2C46-9C62-2AE6516286F7}"/>
                </a:ext>
              </a:extLst>
            </p:cNvPr>
            <p:cNvSpPr txBox="1"/>
            <p:nvPr/>
          </p:nvSpPr>
          <p:spPr>
            <a:xfrm>
              <a:off x="5458389" y="855122"/>
              <a:ext cx="4341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dirty="0">
                  <a:latin typeface="Roboto"/>
                  <a:ea typeface="Roboto"/>
                  <a:cs typeface="Roboto"/>
                  <a:sym typeface="Roboto"/>
                </a:rPr>
                <a:t>No</a:t>
              </a:r>
              <a:endParaRPr sz="1400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480;p49">
              <a:extLst>
                <a:ext uri="{FF2B5EF4-FFF2-40B4-BE49-F238E27FC236}">
                  <a16:creationId xmlns:a16="http://schemas.microsoft.com/office/drawing/2014/main" id="{D2C8C3CE-8EBF-0449-8CF4-04D018E6DD54}"/>
                </a:ext>
              </a:extLst>
            </p:cNvPr>
            <p:cNvSpPr txBox="1"/>
            <p:nvPr/>
          </p:nvSpPr>
          <p:spPr>
            <a:xfrm>
              <a:off x="5458389" y="1019596"/>
              <a:ext cx="4341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dirty="0">
                  <a:latin typeface="Roboto"/>
                  <a:ea typeface="Roboto"/>
                  <a:cs typeface="Roboto"/>
                  <a:sym typeface="Roboto"/>
                </a:rPr>
                <a:t>man</a:t>
              </a:r>
              <a:endParaRPr sz="1400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9" name="Google Shape;481;p49">
              <a:extLst>
                <a:ext uri="{FF2B5EF4-FFF2-40B4-BE49-F238E27FC236}">
                  <a16:creationId xmlns:a16="http://schemas.microsoft.com/office/drawing/2014/main" id="{2C01FEDB-2952-494D-A409-6CD2BB842221}"/>
                </a:ext>
              </a:extLst>
            </p:cNvPr>
            <p:cNvSpPr txBox="1"/>
            <p:nvPr/>
          </p:nvSpPr>
          <p:spPr>
            <a:xfrm>
              <a:off x="5458389" y="1195021"/>
              <a:ext cx="4341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strike="sngStrike" dirty="0">
                  <a:latin typeface="Roboto"/>
                  <a:ea typeface="Roboto"/>
                  <a:cs typeface="Roboto"/>
                  <a:sym typeface="Roboto"/>
                </a:rPr>
                <a:t>likes</a:t>
              </a:r>
              <a:endParaRPr sz="1400" strike="sngStrike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0" name="Google Shape;482;p49">
              <a:extLst>
                <a:ext uri="{FF2B5EF4-FFF2-40B4-BE49-F238E27FC236}">
                  <a16:creationId xmlns:a16="http://schemas.microsoft.com/office/drawing/2014/main" id="{057A6576-0A92-A04D-AF53-254CBABE7005}"/>
                </a:ext>
              </a:extLst>
            </p:cNvPr>
            <p:cNvSpPr txBox="1"/>
            <p:nvPr/>
          </p:nvSpPr>
          <p:spPr>
            <a:xfrm>
              <a:off x="5458389" y="1347421"/>
              <a:ext cx="4341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dirty="0">
                  <a:latin typeface="Roboto"/>
                  <a:ea typeface="Roboto"/>
                  <a:cs typeface="Roboto"/>
                  <a:sym typeface="Roboto"/>
                </a:rPr>
                <a:t>is</a:t>
              </a:r>
              <a:endParaRPr sz="1400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1" name="Google Shape;483;p49">
              <a:extLst>
                <a:ext uri="{FF2B5EF4-FFF2-40B4-BE49-F238E27FC236}">
                  <a16:creationId xmlns:a16="http://schemas.microsoft.com/office/drawing/2014/main" id="{FFAE25F4-6FC2-1C47-AF23-C6E82EE7AE30}"/>
                </a:ext>
              </a:extLst>
            </p:cNvPr>
            <p:cNvSpPr txBox="1"/>
            <p:nvPr/>
          </p:nvSpPr>
          <p:spPr>
            <a:xfrm>
              <a:off x="5458389" y="1534864"/>
              <a:ext cx="5760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strike="sngStrike" dirty="0">
                  <a:latin typeface="Roboto"/>
                  <a:ea typeface="Roboto"/>
                  <a:cs typeface="Roboto"/>
                  <a:sym typeface="Roboto"/>
                </a:rPr>
                <a:t>salad</a:t>
              </a:r>
              <a:endParaRPr sz="1400" strike="sngStrike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2" name="Google Shape;484;p49">
              <a:extLst>
                <a:ext uri="{FF2B5EF4-FFF2-40B4-BE49-F238E27FC236}">
                  <a16:creationId xmlns:a16="http://schemas.microsoft.com/office/drawing/2014/main" id="{434EBF66-81A7-DC4A-A13B-E70EB1C4DCCC}"/>
                </a:ext>
              </a:extLst>
            </p:cNvPr>
            <p:cNvSpPr txBox="1"/>
            <p:nvPr/>
          </p:nvSpPr>
          <p:spPr>
            <a:xfrm>
              <a:off x="5435842" y="1675977"/>
              <a:ext cx="5112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dirty="0">
                  <a:latin typeface="Roboto"/>
                  <a:ea typeface="Roboto"/>
                  <a:cs typeface="Roboto"/>
                  <a:sym typeface="Roboto"/>
                </a:rPr>
                <a:t>an</a:t>
              </a:r>
              <a:endParaRPr sz="1400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3" name="Google Shape;485;p49">
              <a:extLst>
                <a:ext uri="{FF2B5EF4-FFF2-40B4-BE49-F238E27FC236}">
                  <a16:creationId xmlns:a16="http://schemas.microsoft.com/office/drawing/2014/main" id="{CE0FD925-21AC-034E-B820-3345750A1D1B}"/>
                </a:ext>
              </a:extLst>
            </p:cNvPr>
            <p:cNvSpPr txBox="1"/>
            <p:nvPr/>
          </p:nvSpPr>
          <p:spPr>
            <a:xfrm>
              <a:off x="5439709" y="1859727"/>
              <a:ext cx="5112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dirty="0">
                  <a:latin typeface="Roboto"/>
                  <a:ea typeface="Roboto"/>
                  <a:cs typeface="Roboto"/>
                  <a:sym typeface="Roboto"/>
                </a:rPr>
                <a:t>island</a:t>
              </a:r>
              <a:endParaRPr sz="1400" dirty="0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4" name="Google Shape;486;p49">
              <a:extLst>
                <a:ext uri="{FF2B5EF4-FFF2-40B4-BE49-F238E27FC236}">
                  <a16:creationId xmlns:a16="http://schemas.microsoft.com/office/drawing/2014/main" id="{DBA318F4-1707-274B-A3E1-38A7948D5FF4}"/>
                </a:ext>
              </a:extLst>
            </p:cNvPr>
            <p:cNvSpPr txBox="1"/>
            <p:nvPr/>
          </p:nvSpPr>
          <p:spPr>
            <a:xfrm>
              <a:off x="5458389" y="2050132"/>
              <a:ext cx="511200" cy="19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strike="sngStrike" dirty="0">
                  <a:latin typeface="Roboto"/>
                  <a:ea typeface="Roboto"/>
                  <a:cs typeface="Roboto"/>
                  <a:sym typeface="Roboto"/>
                </a:rPr>
                <a:t>leaves</a:t>
              </a:r>
              <a:endParaRPr sz="1400" strike="sngStrike" dirty="0"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006113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C7721-533B-F444-BA12-F03A9595C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 Frequ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B22DFC-06BB-784D-A84B-40C5269D42D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384742"/>
            <a:ext cx="9296874" cy="4173450"/>
          </a:xfrm>
        </p:spPr>
        <p:txBody>
          <a:bodyPr/>
          <a:lstStyle/>
          <a:p>
            <a:r>
              <a:rPr lang="en-US" dirty="0"/>
              <a:t>Vocabulary</a:t>
            </a:r>
          </a:p>
          <a:p>
            <a:r>
              <a:rPr lang="en-US" dirty="0"/>
              <a:t>No man is an island</a:t>
            </a:r>
          </a:p>
          <a:p>
            <a:r>
              <a:rPr lang="en-US" dirty="0"/>
              <a:t>No news is good new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F: the count of times a term appears in a phrase.</a:t>
            </a:r>
          </a:p>
          <a:p>
            <a:r>
              <a:rPr lang="en-US" dirty="0"/>
              <a:t>Vocabulary: the set of words in the corpus of text</a:t>
            </a:r>
          </a:p>
          <a:p>
            <a:endParaRPr lang="en-US" dirty="0"/>
          </a:p>
          <a:p>
            <a:r>
              <a:rPr lang="en-US" b="1" dirty="0">
                <a:solidFill>
                  <a:srgbClr val="008000"/>
                </a:solidFill>
                <a:latin typeface="Roboto Mono"/>
                <a:ea typeface="Roboto Mono"/>
                <a:cs typeface="Roboto Mono"/>
                <a:sym typeface="Roboto Mono"/>
              </a:rPr>
              <a:t>from</a:t>
            </a:r>
            <a:r>
              <a:rPr lang="en-US" dirty="0">
                <a:solidFill>
                  <a:srgbClr val="333333"/>
                </a:solidFill>
                <a:latin typeface="Roboto Mono"/>
                <a:ea typeface="Roboto Mono"/>
                <a:cs typeface="Roboto Mono"/>
                <a:sym typeface="Roboto Mono"/>
              </a:rPr>
              <a:t> </a:t>
            </a:r>
            <a:r>
              <a:rPr lang="en-US" b="1" dirty="0" err="1">
                <a:solidFill>
                  <a:srgbClr val="0000FF"/>
                </a:solidFill>
                <a:latin typeface="Roboto Mono"/>
                <a:ea typeface="Roboto Mono"/>
                <a:cs typeface="Roboto Mono"/>
                <a:sym typeface="Roboto Mono"/>
              </a:rPr>
              <a:t>sklearn.feature_extraction.text</a:t>
            </a:r>
            <a:r>
              <a:rPr lang="en-US" dirty="0">
                <a:solidFill>
                  <a:srgbClr val="333333"/>
                </a:solidFill>
                <a:latin typeface="Roboto Mono"/>
                <a:ea typeface="Roboto Mono"/>
                <a:cs typeface="Roboto Mono"/>
                <a:sym typeface="Roboto Mono"/>
              </a:rPr>
              <a:t> </a:t>
            </a:r>
            <a:r>
              <a:rPr lang="en-US" b="1" dirty="0">
                <a:solidFill>
                  <a:srgbClr val="008000"/>
                </a:solidFill>
                <a:latin typeface="Roboto Mono"/>
                <a:ea typeface="Roboto Mono"/>
                <a:cs typeface="Roboto Mono"/>
                <a:sym typeface="Roboto Mono"/>
              </a:rPr>
              <a:t>import</a:t>
            </a:r>
            <a:r>
              <a:rPr lang="en-US" dirty="0">
                <a:solidFill>
                  <a:srgbClr val="333333"/>
                </a:solidFill>
                <a:latin typeface="Roboto Mono"/>
                <a:ea typeface="Roboto Mono"/>
                <a:cs typeface="Roboto Mono"/>
                <a:sym typeface="Roboto Mono"/>
              </a:rPr>
              <a:t> </a:t>
            </a:r>
            <a:r>
              <a:rPr lang="en-US" dirty="0" err="1">
                <a:solidFill>
                  <a:srgbClr val="333333"/>
                </a:solidFill>
                <a:latin typeface="Roboto Mono"/>
                <a:ea typeface="Roboto Mono"/>
                <a:cs typeface="Roboto Mono"/>
                <a:sym typeface="Roboto Mono"/>
              </a:rPr>
              <a:t>CountVectorizer</a:t>
            </a:r>
            <a:endParaRPr lang="en-US" dirty="0">
              <a:solidFill>
                <a:srgbClr val="333333"/>
              </a:solidFill>
              <a:latin typeface="Roboto Mono"/>
              <a:ea typeface="Roboto Mono"/>
              <a:cs typeface="Roboto Mono"/>
              <a:sym typeface="Roboto Mono"/>
            </a:endParaRPr>
          </a:p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94B27BA-7CA4-CD48-9227-AF581A7F4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077590"/>
              </p:ext>
            </p:extLst>
          </p:nvPr>
        </p:nvGraphicFramePr>
        <p:xfrm>
          <a:off x="3847102" y="2384741"/>
          <a:ext cx="6347782" cy="1213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6826">
                  <a:extLst>
                    <a:ext uri="{9D8B030D-6E8A-4147-A177-3AD203B41FA5}">
                      <a16:colId xmlns:a16="http://schemas.microsoft.com/office/drawing/2014/main" val="1713152930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4162245661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1678673925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3158953806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1767877645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2260642753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4087049837"/>
                    </a:ext>
                  </a:extLst>
                </a:gridCol>
              </a:tblGrid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s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2756394"/>
                  </a:ext>
                </a:extLst>
              </a:tr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758730"/>
                  </a:ext>
                </a:extLst>
              </a:tr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9149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380165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C7721-533B-F444-BA12-F03A9595C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 Frequency</a:t>
            </a:r>
            <a:br>
              <a:rPr lang="en-US" dirty="0"/>
            </a:br>
            <a:r>
              <a:rPr lang="en-US" dirty="0"/>
              <a:t>Inverse Document Frequenc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BB22DFC-06BB-784D-A84B-40C5269D42DF}"/>
                  </a:ext>
                </a:extLst>
              </p:cNvPr>
              <p:cNvSpPr>
                <a:spLocks noGrp="1"/>
              </p:cNvSpPr>
              <p:nvPr>
                <p:ph sz="quarter" idx="10"/>
              </p:nvPr>
            </p:nvSpPr>
            <p:spPr>
              <a:xfrm>
                <a:off x="274638" y="2384742"/>
                <a:ext cx="9296874" cy="4445576"/>
              </a:xfrm>
            </p:spPr>
            <p:txBody>
              <a:bodyPr/>
              <a:lstStyle/>
              <a:p>
                <a:r>
                  <a:rPr lang="en-US" dirty="0"/>
                  <a:t>Vocabulary</a:t>
                </a:r>
              </a:p>
              <a:p>
                <a:r>
                  <a:rPr lang="en-US" dirty="0"/>
                  <a:t>No man is an island</a:t>
                </a:r>
              </a:p>
              <a:p>
                <a:r>
                  <a:rPr lang="en-US" dirty="0"/>
                  <a:t>No news is good news</a:t>
                </a:r>
              </a:p>
              <a:p>
                <a:endParaRPr lang="en-US" dirty="0"/>
              </a:p>
              <a:p>
                <a:r>
                  <a:rPr lang="en-US" dirty="0"/>
                  <a:t>Widely used to compute relevance scores in search:</a:t>
                </a:r>
              </a:p>
              <a:p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𝑓𝑖𝑑𝑓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𝑙𝑜𝑔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endParaRPr lang="en-US" dirty="0"/>
              </a:p>
              <a:p>
                <a:r>
                  <a:rPr lang="en-US" b="1" dirty="0">
                    <a:solidFill>
                      <a:srgbClr val="008000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from</a:t>
                </a:r>
                <a:r>
                  <a:rPr lang="en-US" dirty="0">
                    <a:solidFill>
                      <a:srgbClr val="333333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 </a:t>
                </a:r>
                <a:r>
                  <a:rPr lang="en-US" b="1" dirty="0" err="1">
                    <a:solidFill>
                      <a:srgbClr val="0000FF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sklearn.feature_extraction.text</a:t>
                </a:r>
                <a:r>
                  <a:rPr lang="en-US" dirty="0">
                    <a:solidFill>
                      <a:srgbClr val="333333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 </a:t>
                </a:r>
                <a:r>
                  <a:rPr lang="en-US" b="1" dirty="0">
                    <a:solidFill>
                      <a:srgbClr val="008000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import</a:t>
                </a:r>
                <a:r>
                  <a:rPr lang="en-US" dirty="0">
                    <a:solidFill>
                      <a:srgbClr val="333333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 </a:t>
                </a:r>
                <a:r>
                  <a:rPr lang="en-US" dirty="0" err="1">
                    <a:solidFill>
                      <a:srgbClr val="333333"/>
                    </a:solidFill>
                    <a:latin typeface="Roboto Mono"/>
                    <a:ea typeface="Roboto Mono"/>
                    <a:cs typeface="Roboto Mono"/>
                    <a:sym typeface="Roboto Mono"/>
                  </a:rPr>
                  <a:t>TfidfVectorizer</a:t>
                </a:r>
                <a:endParaRPr lang="en-US" dirty="0">
                  <a:solidFill>
                    <a:srgbClr val="333333"/>
                  </a:solidFill>
                  <a:latin typeface="Roboto Mono"/>
                  <a:ea typeface="Roboto Mono"/>
                  <a:cs typeface="Roboto Mono"/>
                  <a:sym typeface="Roboto Mono"/>
                </a:endParaRPr>
              </a:p>
              <a:p>
                <a:endParaRPr lang="en-US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BB22DFC-06BB-784D-A84B-40C5269D42D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0"/>
              </p:nvPr>
            </p:nvSpPr>
            <p:spPr>
              <a:xfrm>
                <a:off x="274638" y="2384742"/>
                <a:ext cx="9296874" cy="4445576"/>
              </a:xfrm>
              <a:blipFill>
                <a:blip r:embed="rId2"/>
                <a:stretch>
                  <a:fillRect l="-4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94B27BA-7CA4-CD48-9227-AF581A7F4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8928729"/>
              </p:ext>
            </p:extLst>
          </p:nvPr>
        </p:nvGraphicFramePr>
        <p:xfrm>
          <a:off x="3847102" y="2384741"/>
          <a:ext cx="6347782" cy="1213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6826">
                  <a:extLst>
                    <a:ext uri="{9D8B030D-6E8A-4147-A177-3AD203B41FA5}">
                      <a16:colId xmlns:a16="http://schemas.microsoft.com/office/drawing/2014/main" val="1713152930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4162245661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1678673925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3158953806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1767877645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2260642753"/>
                    </a:ext>
                  </a:extLst>
                </a:gridCol>
                <a:gridCol w="906826">
                  <a:extLst>
                    <a:ext uri="{9D8B030D-6E8A-4147-A177-3AD203B41FA5}">
                      <a16:colId xmlns:a16="http://schemas.microsoft.com/office/drawing/2014/main" val="4087049837"/>
                    </a:ext>
                  </a:extLst>
                </a:gridCol>
              </a:tblGrid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s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2756394"/>
                  </a:ext>
                </a:extLst>
              </a:tr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758730"/>
                  </a:ext>
                </a:extLst>
              </a:tr>
              <a:tr h="404494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8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9149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64104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174EC1-1FD3-F149-9A88-1CB44EA5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 Embed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B0C773-B977-DE4C-BB89-8D5EF079B3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9142494" cy="1476074"/>
          </a:xfrm>
        </p:spPr>
        <p:txBody>
          <a:bodyPr>
            <a:normAutofit/>
          </a:bodyPr>
          <a:lstStyle/>
          <a:p>
            <a:r>
              <a:rPr lang="en-US" dirty="0"/>
              <a:t>Mapping of words, phrases and documents to dense vectors of real numbers.</a:t>
            </a:r>
          </a:p>
          <a:p>
            <a:r>
              <a:rPr lang="en-US" dirty="0"/>
              <a:t>Output is a vocabulary (a set) of such mappings</a:t>
            </a:r>
          </a:p>
        </p:txBody>
      </p:sp>
    </p:spTree>
    <p:extLst>
      <p:ext uri="{BB962C8B-B14F-4D97-AF65-F5344CB8AC3E}">
        <p14:creationId xmlns:p14="http://schemas.microsoft.com/office/powerpoint/2010/main" val="37077336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522" y="2505399"/>
            <a:ext cx="8624038" cy="74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51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documents in which the word occurs.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263" y="2445011"/>
            <a:ext cx="8753063" cy="1502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070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Represent an item (e.g., word) as a Vector of numbers.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banana	 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The vector can correspond to neighboring word context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𝑒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, “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𝑦𝑒𝑙𝑙𝑜𝑤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𝑏𝑎𝑛𝑎𝑛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𝑟𝑜𝑤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𝑜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𝑡𝑟𝑒𝑒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𝑖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𝑎𝑓𝑟𝑖𝑐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”</m:t>
                      </m:r>
                    </m:oMath>
                  </m:oMathPara>
                </a14:m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                            -1	   0	      +1     +2</a:t>
                </a:r>
                <a:r>
                  <a:rPr lang="en-US" sz="2800" dirty="0">
                    <a:latin typeface="+mj-lt"/>
                  </a:rPr>
                  <a:t>    </a:t>
                </a:r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+3	    +4     +5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blipFill rotWithShape="1">
                <a:blip r:embed="rId3"/>
                <a:stretch>
                  <a:fillRect l="-1081" t="-1261" b="-2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111" y="2546929"/>
            <a:ext cx="8724486" cy="1566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72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bc6b55d-a734-43bd-8eab-fb065c703cf5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686</Words>
  <Application>Microsoft Macintosh PowerPoint</Application>
  <PresentationFormat>Custom</PresentationFormat>
  <Paragraphs>345</Paragraphs>
  <Slides>29</Slides>
  <Notes>18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rial</vt:lpstr>
      <vt:lpstr>Calibri</vt:lpstr>
      <vt:lpstr>Cambria Math</vt:lpstr>
      <vt:lpstr>Consolas</vt:lpstr>
      <vt:lpstr>Courier New</vt:lpstr>
      <vt:lpstr>Roboto</vt:lpstr>
      <vt:lpstr>Roboto Mono</vt:lpstr>
      <vt:lpstr>Segoe UI</vt:lpstr>
      <vt:lpstr>Segoe UI Light</vt:lpstr>
      <vt:lpstr>Times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think-cell Slide</vt:lpstr>
      <vt:lpstr>Encoding &amp; Embedding</vt:lpstr>
      <vt:lpstr>Encoding</vt:lpstr>
      <vt:lpstr>One-Hot Encoding</vt:lpstr>
      <vt:lpstr>Term Frequency</vt:lpstr>
      <vt:lpstr>Term Frequency Inverse Document Frequency</vt:lpstr>
      <vt:lpstr>Word Embed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rd2Vec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9-11-16T03:1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Tfs.IsStoryboard">
    <vt:bool>true</vt:bool>
  </property>
</Properties>
</file>